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84" r:id="rId5"/>
  </p:sldMasterIdLst>
  <p:notesMasterIdLst>
    <p:notesMasterId r:id="rId13"/>
  </p:notesMasterIdLst>
  <p:sldIdLst>
    <p:sldId id="1187" r:id="rId6"/>
    <p:sldId id="4705" r:id="rId7"/>
    <p:sldId id="4706" r:id="rId8"/>
    <p:sldId id="4707" r:id="rId9"/>
    <p:sldId id="4711" r:id="rId10"/>
    <p:sldId id="4710" r:id="rId11"/>
    <p:sldId id="4338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shlie Lenington" initials="AL" lastIdx="1" clrIdx="6">
    <p:extLst>
      <p:ext uri="{19B8F6BF-5375-455C-9EA6-DF929625EA0E}">
        <p15:presenceInfo xmlns:p15="http://schemas.microsoft.com/office/powerpoint/2012/main" userId="S::leninash@slhs.org::9ba52f77-9046-4613-b20f-2781dc973c54" providerId="AD"/>
      </p:ext>
    </p:extLst>
  </p:cmAuthor>
  <p:cmAuthor id="1" name="Malia Miyamura-Heuman" initials="MM" lastIdx="1" clrIdx="0">
    <p:extLst>
      <p:ext uri="{19B8F6BF-5375-455C-9EA6-DF929625EA0E}">
        <p15:presenceInfo xmlns:p15="http://schemas.microsoft.com/office/powerpoint/2012/main" userId="S::miyamurm@slhs.org::f311a0b3-c442-41b0-ab77-4f924104dcaf" providerId="AD"/>
      </p:ext>
    </p:extLst>
  </p:cmAuthor>
  <p:cmAuthor id="2" name="Christina Sciascia" initials="CS" lastIdx="10" clrIdx="1">
    <p:extLst>
      <p:ext uri="{19B8F6BF-5375-455C-9EA6-DF929625EA0E}">
        <p15:presenceInfo xmlns:p15="http://schemas.microsoft.com/office/powerpoint/2012/main" userId="S::sciascic@slhs.org::4baaa52c-67e3-43ad-a253-59113cff7714" providerId="AD"/>
      </p:ext>
    </p:extLst>
  </p:cmAuthor>
  <p:cmAuthor id="3" name="Erica Davis" initials="ED" lastIdx="9" clrIdx="2">
    <p:extLst>
      <p:ext uri="{19B8F6BF-5375-455C-9EA6-DF929625EA0E}">
        <p15:presenceInfo xmlns:p15="http://schemas.microsoft.com/office/powerpoint/2012/main" userId="S::davieric@slhs.org::3b9cee1e-3cb3-4b0c-87d7-995427b358dd" providerId="AD"/>
      </p:ext>
    </p:extLst>
  </p:cmAuthor>
  <p:cmAuthor id="4" name="Brenda Berriman" initials="BB" lastIdx="11" clrIdx="3">
    <p:extLst>
      <p:ext uri="{19B8F6BF-5375-455C-9EA6-DF929625EA0E}">
        <p15:presenceInfo xmlns:p15="http://schemas.microsoft.com/office/powerpoint/2012/main" userId="S::berrimab@slhs.org::237ba3a3-1fe9-43ea-9069-eed466db416a" providerId="AD"/>
      </p:ext>
    </p:extLst>
  </p:cmAuthor>
  <p:cmAuthor id="5" name="Chelsie Shakespeare" initials="CS" lastIdx="3" clrIdx="4">
    <p:extLst>
      <p:ext uri="{19B8F6BF-5375-455C-9EA6-DF929625EA0E}">
        <p15:presenceInfo xmlns:p15="http://schemas.microsoft.com/office/powerpoint/2012/main" userId="S::shakespc@slhs.org::63384d13-a10c-4248-bcdd-1eeba803bb64" providerId="AD"/>
      </p:ext>
    </p:extLst>
  </p:cmAuthor>
  <p:cmAuthor id="6" name="Kirstin Beck" initials="KB" lastIdx="1" clrIdx="5">
    <p:extLst>
      <p:ext uri="{19B8F6BF-5375-455C-9EA6-DF929625EA0E}">
        <p15:presenceInfo xmlns:p15="http://schemas.microsoft.com/office/powerpoint/2012/main" userId="S::beckk@slhs.org::5d789f72-27f3-4469-8472-e764f3c0db3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60A0"/>
    <a:srgbClr val="005A99"/>
    <a:srgbClr val="6BADDF"/>
    <a:srgbClr val="0099FF"/>
    <a:srgbClr val="002C77"/>
    <a:srgbClr val="B9CDE5"/>
    <a:srgbClr val="376092"/>
    <a:srgbClr val="616061"/>
    <a:srgbClr val="BFBFBF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07A01BE-72A3-4E0A-8271-29E700723F96}" v="29" dt="2023-05-01T21:38:58.70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4049266-BB19-4061-A2CD-689ECA8101B9}" type="doc">
      <dgm:prSet loTypeId="urn:microsoft.com/office/officeart/2005/8/layout/default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151AD8E-2C60-4A6E-9BBB-88A377F785E9}">
      <dgm:prSet/>
      <dgm:spPr/>
      <dgm:t>
        <a:bodyPr/>
        <a:lstStyle/>
        <a:p>
          <a:r>
            <a:rPr lang="en-US" dirty="0"/>
            <a:t>Available</a:t>
          </a:r>
          <a:r>
            <a:rPr lang="en-US" dirty="0">
              <a:solidFill>
                <a:srgbClr val="7030A0"/>
              </a:solidFill>
            </a:rPr>
            <a:t> </a:t>
          </a:r>
          <a:r>
            <a:rPr lang="en-US" b="1" dirty="0">
              <a:solidFill>
                <a:schemeClr val="tx2"/>
              </a:solidFill>
            </a:rPr>
            <a:t>onsite</a:t>
          </a:r>
          <a:r>
            <a:rPr lang="en-US" dirty="0">
              <a:solidFill>
                <a:schemeClr val="tx2"/>
              </a:solidFill>
            </a:rPr>
            <a:t> </a:t>
          </a:r>
          <a:r>
            <a:rPr lang="en-US" dirty="0"/>
            <a:t>with employer-provided laptop or employee mobile device</a:t>
          </a:r>
        </a:p>
      </dgm:t>
    </dgm:pt>
    <dgm:pt modelId="{B0F27465-BF5B-45E4-8C34-BAF559365EED}" type="parTrans" cxnId="{BF357DEC-4D7B-4948-9B1A-30490468881F}">
      <dgm:prSet/>
      <dgm:spPr/>
      <dgm:t>
        <a:bodyPr/>
        <a:lstStyle/>
        <a:p>
          <a:endParaRPr lang="en-US"/>
        </a:p>
      </dgm:t>
    </dgm:pt>
    <dgm:pt modelId="{687D1118-9BF9-4B50-9133-7E738C7DFA5C}" type="sibTrans" cxnId="{BF357DEC-4D7B-4948-9B1A-30490468881F}">
      <dgm:prSet/>
      <dgm:spPr/>
      <dgm:t>
        <a:bodyPr/>
        <a:lstStyle/>
        <a:p>
          <a:endParaRPr lang="en-US"/>
        </a:p>
      </dgm:t>
    </dgm:pt>
    <dgm:pt modelId="{8C629BE6-109E-437F-85AB-03793A330E8C}">
      <dgm:prSet/>
      <dgm:spPr/>
      <dgm:t>
        <a:bodyPr/>
        <a:lstStyle/>
        <a:p>
          <a:r>
            <a:rPr lang="en-US" dirty="0"/>
            <a:t>Same-day or scheduled video visit access with </a:t>
          </a:r>
          <a:r>
            <a:rPr lang="en-US" b="1" dirty="0">
              <a:solidFill>
                <a:schemeClr val="tx2"/>
              </a:solidFill>
            </a:rPr>
            <a:t>St. Luke’s provider every day </a:t>
          </a:r>
          <a:r>
            <a:rPr lang="en-US" dirty="0"/>
            <a:t>8 am – 8 pm</a:t>
          </a:r>
        </a:p>
      </dgm:t>
    </dgm:pt>
    <dgm:pt modelId="{EE1BE519-F85B-4C42-8AA1-C99F257E2188}" type="parTrans" cxnId="{7E357996-B170-4D11-9B0A-6563195ED818}">
      <dgm:prSet/>
      <dgm:spPr/>
      <dgm:t>
        <a:bodyPr/>
        <a:lstStyle/>
        <a:p>
          <a:endParaRPr lang="en-US"/>
        </a:p>
      </dgm:t>
    </dgm:pt>
    <dgm:pt modelId="{6210DC89-3F79-41DB-81E3-14A402312B89}" type="sibTrans" cxnId="{7E357996-B170-4D11-9B0A-6563195ED818}">
      <dgm:prSet/>
      <dgm:spPr/>
      <dgm:t>
        <a:bodyPr/>
        <a:lstStyle/>
        <a:p>
          <a:endParaRPr lang="en-US"/>
        </a:p>
      </dgm:t>
    </dgm:pt>
    <dgm:pt modelId="{B4FFFF9C-FA8E-4CA3-9064-AC99A133B5EB}">
      <dgm:prSet/>
      <dgm:spPr/>
      <dgm:t>
        <a:bodyPr/>
        <a:lstStyle/>
        <a:p>
          <a:r>
            <a:rPr lang="en-US"/>
            <a:t>Return to work discussed and Activity Status Report completed</a:t>
          </a:r>
          <a:endParaRPr lang="en-US" dirty="0"/>
        </a:p>
      </dgm:t>
    </dgm:pt>
    <dgm:pt modelId="{07BC5826-1AA2-470B-9C5D-8F88A1BAB776}" type="parTrans" cxnId="{9ECC531C-798B-4A5F-991B-1255B466E679}">
      <dgm:prSet/>
      <dgm:spPr/>
      <dgm:t>
        <a:bodyPr/>
        <a:lstStyle/>
        <a:p>
          <a:endParaRPr lang="en-US"/>
        </a:p>
      </dgm:t>
    </dgm:pt>
    <dgm:pt modelId="{E6226D8E-A267-4D7E-9AFC-A96C6ED475F0}" type="sibTrans" cxnId="{9ECC531C-798B-4A5F-991B-1255B466E679}">
      <dgm:prSet/>
      <dgm:spPr/>
      <dgm:t>
        <a:bodyPr/>
        <a:lstStyle/>
        <a:p>
          <a:endParaRPr lang="en-US"/>
        </a:p>
      </dgm:t>
    </dgm:pt>
    <dgm:pt modelId="{2BEC1841-C0A0-4F35-A5D9-BD8029149CB3}">
      <dgm:prSet/>
      <dgm:spPr/>
      <dgm:t>
        <a:bodyPr/>
        <a:lstStyle/>
        <a:p>
          <a:r>
            <a:rPr lang="en-US" dirty="0"/>
            <a:t>Follow-up with Occupational Health department within 48 hours after video visit</a:t>
          </a:r>
        </a:p>
      </dgm:t>
    </dgm:pt>
    <dgm:pt modelId="{10B57A2B-8B2C-4CD5-8901-D819B409AEAE}" type="parTrans" cxnId="{89B38B40-2ECC-4825-85C8-ED41585ECEAF}">
      <dgm:prSet/>
      <dgm:spPr/>
      <dgm:t>
        <a:bodyPr/>
        <a:lstStyle/>
        <a:p>
          <a:endParaRPr lang="en-US"/>
        </a:p>
      </dgm:t>
    </dgm:pt>
    <dgm:pt modelId="{7D1A18D8-37A6-494F-BBF2-51850838EBA9}" type="sibTrans" cxnId="{89B38B40-2ECC-4825-85C8-ED41585ECEAF}">
      <dgm:prSet/>
      <dgm:spPr/>
      <dgm:t>
        <a:bodyPr/>
        <a:lstStyle/>
        <a:p>
          <a:endParaRPr lang="en-US"/>
        </a:p>
      </dgm:t>
    </dgm:pt>
    <dgm:pt modelId="{5DCD06C1-16F1-4C9C-9216-DD8A155F4235}">
      <dgm:prSet/>
      <dgm:spPr/>
      <dgm:t>
        <a:bodyPr/>
        <a:lstStyle/>
        <a:p>
          <a:r>
            <a:rPr lang="en-US"/>
            <a:t>Ability for employee to self-schedule initial and follow-up appointments</a:t>
          </a:r>
          <a:endParaRPr lang="en-US" dirty="0"/>
        </a:p>
      </dgm:t>
    </dgm:pt>
    <dgm:pt modelId="{8B6A2609-95AE-40A5-AAA7-5A10926A9309}" type="parTrans" cxnId="{174358A7-86C0-49B8-B75D-461B54244E93}">
      <dgm:prSet/>
      <dgm:spPr/>
      <dgm:t>
        <a:bodyPr/>
        <a:lstStyle/>
        <a:p>
          <a:endParaRPr lang="en-US"/>
        </a:p>
      </dgm:t>
    </dgm:pt>
    <dgm:pt modelId="{52873CE3-9987-4BB4-9AC6-77AF79ADD16A}" type="sibTrans" cxnId="{174358A7-86C0-49B8-B75D-461B54244E93}">
      <dgm:prSet/>
      <dgm:spPr/>
      <dgm:t>
        <a:bodyPr/>
        <a:lstStyle/>
        <a:p>
          <a:endParaRPr lang="en-US"/>
        </a:p>
      </dgm:t>
    </dgm:pt>
    <dgm:pt modelId="{B59C76A2-2DE9-4DC9-A29A-CBBA1DBBBC2A}">
      <dgm:prSet/>
      <dgm:spPr/>
      <dgm:t>
        <a:bodyPr/>
        <a:lstStyle/>
        <a:p>
          <a:r>
            <a:rPr lang="en-US" dirty="0"/>
            <a:t>Positive feedback from employers and employees resulting in expansion of program </a:t>
          </a:r>
        </a:p>
      </dgm:t>
    </dgm:pt>
    <dgm:pt modelId="{5F59C3FD-C5B4-4DEE-A72A-F791ECC36F25}" type="parTrans" cxnId="{8E4E4B8D-3496-4446-B195-CA3D18DB34E6}">
      <dgm:prSet/>
      <dgm:spPr/>
      <dgm:t>
        <a:bodyPr/>
        <a:lstStyle/>
        <a:p>
          <a:endParaRPr lang="en-US"/>
        </a:p>
      </dgm:t>
    </dgm:pt>
    <dgm:pt modelId="{CD545072-4EE1-433F-8DF5-91843083FCC0}" type="sibTrans" cxnId="{8E4E4B8D-3496-4446-B195-CA3D18DB34E6}">
      <dgm:prSet/>
      <dgm:spPr/>
      <dgm:t>
        <a:bodyPr/>
        <a:lstStyle/>
        <a:p>
          <a:endParaRPr lang="en-US"/>
        </a:p>
      </dgm:t>
    </dgm:pt>
    <dgm:pt modelId="{A773E0F9-2DF9-4104-A61F-6BC339CD1CFE}" type="pres">
      <dgm:prSet presAssocID="{64049266-BB19-4061-A2CD-689ECA8101B9}" presName="diagram" presStyleCnt="0">
        <dgm:presLayoutVars>
          <dgm:dir/>
          <dgm:resizeHandles val="exact"/>
        </dgm:presLayoutVars>
      </dgm:prSet>
      <dgm:spPr/>
    </dgm:pt>
    <dgm:pt modelId="{82E1C84B-D9EB-47E5-9C96-03D0A5C077E1}" type="pres">
      <dgm:prSet presAssocID="{8C629BE6-109E-437F-85AB-03793A330E8C}" presName="node" presStyleLbl="node1" presStyleIdx="0" presStyleCnt="6">
        <dgm:presLayoutVars>
          <dgm:bulletEnabled val="1"/>
        </dgm:presLayoutVars>
      </dgm:prSet>
      <dgm:spPr/>
    </dgm:pt>
    <dgm:pt modelId="{1D21B4AA-21A8-49B7-B3BA-7C8E98573D7F}" type="pres">
      <dgm:prSet presAssocID="{6210DC89-3F79-41DB-81E3-14A402312B89}" presName="sibTrans" presStyleCnt="0"/>
      <dgm:spPr/>
    </dgm:pt>
    <dgm:pt modelId="{0AEDCB2F-B722-418D-8B18-132FED330F34}" type="pres">
      <dgm:prSet presAssocID="{7151AD8E-2C60-4A6E-9BBB-88A377F785E9}" presName="node" presStyleLbl="node1" presStyleIdx="1" presStyleCnt="6">
        <dgm:presLayoutVars>
          <dgm:bulletEnabled val="1"/>
        </dgm:presLayoutVars>
      </dgm:prSet>
      <dgm:spPr/>
    </dgm:pt>
    <dgm:pt modelId="{0FB18121-7292-435D-BDD7-721F223D9E6A}" type="pres">
      <dgm:prSet presAssocID="{687D1118-9BF9-4B50-9133-7E738C7DFA5C}" presName="sibTrans" presStyleCnt="0"/>
      <dgm:spPr/>
    </dgm:pt>
    <dgm:pt modelId="{1AAFE4A2-A84A-496C-8676-35F5BC960DA5}" type="pres">
      <dgm:prSet presAssocID="{B4FFFF9C-FA8E-4CA3-9064-AC99A133B5EB}" presName="node" presStyleLbl="node1" presStyleIdx="2" presStyleCnt="6">
        <dgm:presLayoutVars>
          <dgm:bulletEnabled val="1"/>
        </dgm:presLayoutVars>
      </dgm:prSet>
      <dgm:spPr/>
    </dgm:pt>
    <dgm:pt modelId="{49CF5920-A9BF-4197-AC62-7D2D3AF0E823}" type="pres">
      <dgm:prSet presAssocID="{E6226D8E-A267-4D7E-9AFC-A96C6ED475F0}" presName="sibTrans" presStyleCnt="0"/>
      <dgm:spPr/>
    </dgm:pt>
    <dgm:pt modelId="{ACE43208-A26F-4509-B785-67A118A73F75}" type="pres">
      <dgm:prSet presAssocID="{2BEC1841-C0A0-4F35-A5D9-BD8029149CB3}" presName="node" presStyleLbl="node1" presStyleIdx="3" presStyleCnt="6">
        <dgm:presLayoutVars>
          <dgm:bulletEnabled val="1"/>
        </dgm:presLayoutVars>
      </dgm:prSet>
      <dgm:spPr/>
    </dgm:pt>
    <dgm:pt modelId="{ED49A7B4-6D1A-47C3-96B4-24742DD0C74F}" type="pres">
      <dgm:prSet presAssocID="{7D1A18D8-37A6-494F-BBF2-51850838EBA9}" presName="sibTrans" presStyleCnt="0"/>
      <dgm:spPr/>
    </dgm:pt>
    <dgm:pt modelId="{591B1634-6D4D-4004-8B7D-6E27FC16BE31}" type="pres">
      <dgm:prSet presAssocID="{5DCD06C1-16F1-4C9C-9216-DD8A155F4235}" presName="node" presStyleLbl="node1" presStyleIdx="4" presStyleCnt="6">
        <dgm:presLayoutVars>
          <dgm:bulletEnabled val="1"/>
        </dgm:presLayoutVars>
      </dgm:prSet>
      <dgm:spPr/>
    </dgm:pt>
    <dgm:pt modelId="{B629A7EF-FB98-4A79-B1F1-0CA3BB917621}" type="pres">
      <dgm:prSet presAssocID="{52873CE3-9987-4BB4-9AC6-77AF79ADD16A}" presName="sibTrans" presStyleCnt="0"/>
      <dgm:spPr/>
    </dgm:pt>
    <dgm:pt modelId="{B02B1627-652D-4F0E-911E-E4EC3AB91E2E}" type="pres">
      <dgm:prSet presAssocID="{B59C76A2-2DE9-4DC9-A29A-CBBA1DBBBC2A}" presName="node" presStyleLbl="node1" presStyleIdx="5" presStyleCnt="6">
        <dgm:presLayoutVars>
          <dgm:bulletEnabled val="1"/>
        </dgm:presLayoutVars>
      </dgm:prSet>
      <dgm:spPr/>
    </dgm:pt>
  </dgm:ptLst>
  <dgm:cxnLst>
    <dgm:cxn modelId="{9ECC531C-798B-4A5F-991B-1255B466E679}" srcId="{64049266-BB19-4061-A2CD-689ECA8101B9}" destId="{B4FFFF9C-FA8E-4CA3-9064-AC99A133B5EB}" srcOrd="2" destOrd="0" parTransId="{07BC5826-1AA2-470B-9C5D-8F88A1BAB776}" sibTransId="{E6226D8E-A267-4D7E-9AFC-A96C6ED475F0}"/>
    <dgm:cxn modelId="{2BDA992F-671D-4783-8EDA-4B7D5322C7CF}" type="presOf" srcId="{8C629BE6-109E-437F-85AB-03793A330E8C}" destId="{82E1C84B-D9EB-47E5-9C96-03D0A5C077E1}" srcOrd="0" destOrd="0" presId="urn:microsoft.com/office/officeart/2005/8/layout/default"/>
    <dgm:cxn modelId="{89B38B40-2ECC-4825-85C8-ED41585ECEAF}" srcId="{64049266-BB19-4061-A2CD-689ECA8101B9}" destId="{2BEC1841-C0A0-4F35-A5D9-BD8029149CB3}" srcOrd="3" destOrd="0" parTransId="{10B57A2B-8B2C-4CD5-8901-D819B409AEAE}" sibTransId="{7D1A18D8-37A6-494F-BBF2-51850838EBA9}"/>
    <dgm:cxn modelId="{981F5C5B-DC7F-47A2-97AB-D3D53A2B3513}" type="presOf" srcId="{5DCD06C1-16F1-4C9C-9216-DD8A155F4235}" destId="{591B1634-6D4D-4004-8B7D-6E27FC16BE31}" srcOrd="0" destOrd="0" presId="urn:microsoft.com/office/officeart/2005/8/layout/default"/>
    <dgm:cxn modelId="{12449460-B47A-4CB8-9ED1-207F3BE82DD5}" type="presOf" srcId="{B4FFFF9C-FA8E-4CA3-9064-AC99A133B5EB}" destId="{1AAFE4A2-A84A-496C-8676-35F5BC960DA5}" srcOrd="0" destOrd="0" presId="urn:microsoft.com/office/officeart/2005/8/layout/default"/>
    <dgm:cxn modelId="{9409396F-0EE3-4330-8057-78FBAE080A45}" type="presOf" srcId="{2BEC1841-C0A0-4F35-A5D9-BD8029149CB3}" destId="{ACE43208-A26F-4509-B785-67A118A73F75}" srcOrd="0" destOrd="0" presId="urn:microsoft.com/office/officeart/2005/8/layout/default"/>
    <dgm:cxn modelId="{292A6870-325C-4226-B214-0E5EC25F1FA8}" type="presOf" srcId="{B59C76A2-2DE9-4DC9-A29A-CBBA1DBBBC2A}" destId="{B02B1627-652D-4F0E-911E-E4EC3AB91E2E}" srcOrd="0" destOrd="0" presId="urn:microsoft.com/office/officeart/2005/8/layout/default"/>
    <dgm:cxn modelId="{8E4E4B8D-3496-4446-B195-CA3D18DB34E6}" srcId="{64049266-BB19-4061-A2CD-689ECA8101B9}" destId="{B59C76A2-2DE9-4DC9-A29A-CBBA1DBBBC2A}" srcOrd="5" destOrd="0" parTransId="{5F59C3FD-C5B4-4DEE-A72A-F791ECC36F25}" sibTransId="{CD545072-4EE1-433F-8DF5-91843083FCC0}"/>
    <dgm:cxn modelId="{004F148E-B0ED-4597-9B35-A7B60C24ECA8}" type="presOf" srcId="{7151AD8E-2C60-4A6E-9BBB-88A377F785E9}" destId="{0AEDCB2F-B722-418D-8B18-132FED330F34}" srcOrd="0" destOrd="0" presId="urn:microsoft.com/office/officeart/2005/8/layout/default"/>
    <dgm:cxn modelId="{7E357996-B170-4D11-9B0A-6563195ED818}" srcId="{64049266-BB19-4061-A2CD-689ECA8101B9}" destId="{8C629BE6-109E-437F-85AB-03793A330E8C}" srcOrd="0" destOrd="0" parTransId="{EE1BE519-F85B-4C42-8AA1-C99F257E2188}" sibTransId="{6210DC89-3F79-41DB-81E3-14A402312B89}"/>
    <dgm:cxn modelId="{174358A7-86C0-49B8-B75D-461B54244E93}" srcId="{64049266-BB19-4061-A2CD-689ECA8101B9}" destId="{5DCD06C1-16F1-4C9C-9216-DD8A155F4235}" srcOrd="4" destOrd="0" parTransId="{8B6A2609-95AE-40A5-AAA7-5A10926A9309}" sibTransId="{52873CE3-9987-4BB4-9AC6-77AF79ADD16A}"/>
    <dgm:cxn modelId="{32643FE5-9163-4539-AE05-67BAC6882597}" type="presOf" srcId="{64049266-BB19-4061-A2CD-689ECA8101B9}" destId="{A773E0F9-2DF9-4104-A61F-6BC339CD1CFE}" srcOrd="0" destOrd="0" presId="urn:microsoft.com/office/officeart/2005/8/layout/default"/>
    <dgm:cxn modelId="{BF357DEC-4D7B-4948-9B1A-30490468881F}" srcId="{64049266-BB19-4061-A2CD-689ECA8101B9}" destId="{7151AD8E-2C60-4A6E-9BBB-88A377F785E9}" srcOrd="1" destOrd="0" parTransId="{B0F27465-BF5B-45E4-8C34-BAF559365EED}" sibTransId="{687D1118-9BF9-4B50-9133-7E738C7DFA5C}"/>
    <dgm:cxn modelId="{8A6112EC-2AE0-4D90-99BF-3037B3365A52}" type="presParOf" srcId="{A773E0F9-2DF9-4104-A61F-6BC339CD1CFE}" destId="{82E1C84B-D9EB-47E5-9C96-03D0A5C077E1}" srcOrd="0" destOrd="0" presId="urn:microsoft.com/office/officeart/2005/8/layout/default"/>
    <dgm:cxn modelId="{02ECDAD1-2490-4079-BA85-53191C335188}" type="presParOf" srcId="{A773E0F9-2DF9-4104-A61F-6BC339CD1CFE}" destId="{1D21B4AA-21A8-49B7-B3BA-7C8E98573D7F}" srcOrd="1" destOrd="0" presId="urn:microsoft.com/office/officeart/2005/8/layout/default"/>
    <dgm:cxn modelId="{D0DE7B07-6D1A-4FD2-A796-A5D8BBAD0A4F}" type="presParOf" srcId="{A773E0F9-2DF9-4104-A61F-6BC339CD1CFE}" destId="{0AEDCB2F-B722-418D-8B18-132FED330F34}" srcOrd="2" destOrd="0" presId="urn:microsoft.com/office/officeart/2005/8/layout/default"/>
    <dgm:cxn modelId="{9063B683-89C8-4E6A-BD72-CC561F7958C5}" type="presParOf" srcId="{A773E0F9-2DF9-4104-A61F-6BC339CD1CFE}" destId="{0FB18121-7292-435D-BDD7-721F223D9E6A}" srcOrd="3" destOrd="0" presId="urn:microsoft.com/office/officeart/2005/8/layout/default"/>
    <dgm:cxn modelId="{8C1C3D6A-996A-4683-AABE-811F41C7A0EF}" type="presParOf" srcId="{A773E0F9-2DF9-4104-A61F-6BC339CD1CFE}" destId="{1AAFE4A2-A84A-496C-8676-35F5BC960DA5}" srcOrd="4" destOrd="0" presId="urn:microsoft.com/office/officeart/2005/8/layout/default"/>
    <dgm:cxn modelId="{649531FD-10AF-4D1A-9C1E-2A83E4BF3B3F}" type="presParOf" srcId="{A773E0F9-2DF9-4104-A61F-6BC339CD1CFE}" destId="{49CF5920-A9BF-4197-AC62-7D2D3AF0E823}" srcOrd="5" destOrd="0" presId="urn:microsoft.com/office/officeart/2005/8/layout/default"/>
    <dgm:cxn modelId="{706FC2A6-D1AF-4389-B3E8-AE9D7A81554F}" type="presParOf" srcId="{A773E0F9-2DF9-4104-A61F-6BC339CD1CFE}" destId="{ACE43208-A26F-4509-B785-67A118A73F75}" srcOrd="6" destOrd="0" presId="urn:microsoft.com/office/officeart/2005/8/layout/default"/>
    <dgm:cxn modelId="{BDDFCCF4-5FB5-4EEE-9255-0DAC727AE6D3}" type="presParOf" srcId="{A773E0F9-2DF9-4104-A61F-6BC339CD1CFE}" destId="{ED49A7B4-6D1A-47C3-96B4-24742DD0C74F}" srcOrd="7" destOrd="0" presId="urn:microsoft.com/office/officeart/2005/8/layout/default"/>
    <dgm:cxn modelId="{6AC7B713-E3BF-4664-BEC9-5743D169F17D}" type="presParOf" srcId="{A773E0F9-2DF9-4104-A61F-6BC339CD1CFE}" destId="{591B1634-6D4D-4004-8B7D-6E27FC16BE31}" srcOrd="8" destOrd="0" presId="urn:microsoft.com/office/officeart/2005/8/layout/default"/>
    <dgm:cxn modelId="{2466AB55-8B3B-4DEE-934A-61C4DB6D4B6E}" type="presParOf" srcId="{A773E0F9-2DF9-4104-A61F-6BC339CD1CFE}" destId="{B629A7EF-FB98-4A79-B1F1-0CA3BB917621}" srcOrd="9" destOrd="0" presId="urn:microsoft.com/office/officeart/2005/8/layout/default"/>
    <dgm:cxn modelId="{ED57BB16-FCAB-473D-98A7-2899E2A71863}" type="presParOf" srcId="{A773E0F9-2DF9-4104-A61F-6BC339CD1CFE}" destId="{B02B1627-652D-4F0E-911E-E4EC3AB91E2E}" srcOrd="10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E1C84B-D9EB-47E5-9C96-03D0A5C077E1}">
      <dsp:nvSpPr>
        <dsp:cNvPr id="0" name=""/>
        <dsp:cNvSpPr/>
      </dsp:nvSpPr>
      <dsp:spPr>
        <a:xfrm>
          <a:off x="0" y="718123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Same-day or scheduled video visit access with </a:t>
          </a:r>
          <a:r>
            <a:rPr lang="en-US" sz="2200" b="1" kern="1200" dirty="0">
              <a:solidFill>
                <a:schemeClr val="tx2"/>
              </a:solidFill>
            </a:rPr>
            <a:t>St. Luke’s provider every day </a:t>
          </a:r>
          <a:r>
            <a:rPr lang="en-US" sz="2200" kern="1200" dirty="0"/>
            <a:t>8 am – 8 pm</a:t>
          </a:r>
        </a:p>
      </dsp:txBody>
      <dsp:txXfrm>
        <a:off x="0" y="718123"/>
        <a:ext cx="3132460" cy="1879476"/>
      </dsp:txXfrm>
    </dsp:sp>
    <dsp:sp modelId="{0AEDCB2F-B722-418D-8B18-132FED330F34}">
      <dsp:nvSpPr>
        <dsp:cNvPr id="0" name=""/>
        <dsp:cNvSpPr/>
      </dsp:nvSpPr>
      <dsp:spPr>
        <a:xfrm>
          <a:off x="3445707" y="718123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Available</a:t>
          </a:r>
          <a:r>
            <a:rPr lang="en-US" sz="2200" kern="1200" dirty="0">
              <a:solidFill>
                <a:srgbClr val="7030A0"/>
              </a:solidFill>
            </a:rPr>
            <a:t> </a:t>
          </a:r>
          <a:r>
            <a:rPr lang="en-US" sz="2200" b="1" kern="1200" dirty="0">
              <a:solidFill>
                <a:schemeClr val="tx2"/>
              </a:solidFill>
            </a:rPr>
            <a:t>onsite</a:t>
          </a:r>
          <a:r>
            <a:rPr lang="en-US" sz="2200" kern="1200" dirty="0">
              <a:solidFill>
                <a:schemeClr val="tx2"/>
              </a:solidFill>
            </a:rPr>
            <a:t> </a:t>
          </a:r>
          <a:r>
            <a:rPr lang="en-US" sz="2200" kern="1200" dirty="0"/>
            <a:t>with employer-provided laptop or employee mobile device</a:t>
          </a:r>
        </a:p>
      </dsp:txBody>
      <dsp:txXfrm>
        <a:off x="3445707" y="718123"/>
        <a:ext cx="3132460" cy="1879476"/>
      </dsp:txXfrm>
    </dsp:sp>
    <dsp:sp modelId="{1AAFE4A2-A84A-496C-8676-35F5BC960DA5}">
      <dsp:nvSpPr>
        <dsp:cNvPr id="0" name=""/>
        <dsp:cNvSpPr/>
      </dsp:nvSpPr>
      <dsp:spPr>
        <a:xfrm>
          <a:off x="6891414" y="718123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Return to work discussed and Activity Status Report completed</a:t>
          </a:r>
          <a:endParaRPr lang="en-US" sz="2200" kern="1200" dirty="0"/>
        </a:p>
      </dsp:txBody>
      <dsp:txXfrm>
        <a:off x="6891414" y="718123"/>
        <a:ext cx="3132460" cy="1879476"/>
      </dsp:txXfrm>
    </dsp:sp>
    <dsp:sp modelId="{ACE43208-A26F-4509-B785-67A118A73F75}">
      <dsp:nvSpPr>
        <dsp:cNvPr id="0" name=""/>
        <dsp:cNvSpPr/>
      </dsp:nvSpPr>
      <dsp:spPr>
        <a:xfrm>
          <a:off x="0" y="2910846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Follow-up with Occupational Health department within 48 hours after video visit</a:t>
          </a:r>
        </a:p>
      </dsp:txBody>
      <dsp:txXfrm>
        <a:off x="0" y="2910846"/>
        <a:ext cx="3132460" cy="1879476"/>
      </dsp:txXfrm>
    </dsp:sp>
    <dsp:sp modelId="{591B1634-6D4D-4004-8B7D-6E27FC16BE31}">
      <dsp:nvSpPr>
        <dsp:cNvPr id="0" name=""/>
        <dsp:cNvSpPr/>
      </dsp:nvSpPr>
      <dsp:spPr>
        <a:xfrm>
          <a:off x="3445707" y="2910846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Ability for employee to self-schedule initial and follow-up appointments</a:t>
          </a:r>
          <a:endParaRPr lang="en-US" sz="2200" kern="1200" dirty="0"/>
        </a:p>
      </dsp:txBody>
      <dsp:txXfrm>
        <a:off x="3445707" y="2910846"/>
        <a:ext cx="3132460" cy="1879476"/>
      </dsp:txXfrm>
    </dsp:sp>
    <dsp:sp modelId="{B02B1627-652D-4F0E-911E-E4EC3AB91E2E}">
      <dsp:nvSpPr>
        <dsp:cNvPr id="0" name=""/>
        <dsp:cNvSpPr/>
      </dsp:nvSpPr>
      <dsp:spPr>
        <a:xfrm>
          <a:off x="6891414" y="2910846"/>
          <a:ext cx="3132460" cy="187947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Positive feedback from employers and employees resulting in expansion of program </a:t>
          </a:r>
        </a:p>
      </dsp:txBody>
      <dsp:txXfrm>
        <a:off x="6891414" y="2910846"/>
        <a:ext cx="3132460" cy="187947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AE4DB7-FC81-4672-B36F-5336C662A8DF}" type="datetimeFigureOut">
              <a:rPr lang="en-US" smtClean="0"/>
              <a:t>5/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E33FDD-2014-4968-8C37-FC83136DEF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9155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33FDD-2014-4968-8C37-FC83136DEFA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2147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E33FDD-2014-4968-8C37-FC83136DEFA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4555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3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9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9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0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21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9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1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2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3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19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6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8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2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9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8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2.jpe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0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1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2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3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4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5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6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1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33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6.xml"/><Relationship Id="rId4" Type="http://schemas.openxmlformats.org/officeDocument/2006/relationships/image" Target="../media/image17.emf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670984" y="3679865"/>
            <a:ext cx="10220763" cy="369332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400" b="0" spc="107">
                <a:solidFill>
                  <a:srgbClr val="616061"/>
                </a:solidFill>
                <a:latin typeface="Arial"/>
                <a:cs typeface="Helvetica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2/8/18</a:t>
            </a:r>
          </a:p>
        </p:txBody>
      </p:sp>
      <p:sp>
        <p:nvSpPr>
          <p:cNvPr id="4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607483" y="2618886"/>
            <a:ext cx="10284264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800" b="0" i="1" kern="0" spc="133" baseline="0">
                <a:solidFill>
                  <a:srgbClr val="0093D0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1803135"/>
            <a:ext cx="10284265" cy="815751"/>
          </a:xfrm>
          <a:prstGeom prst="rect">
            <a:avLst/>
          </a:prstGeom>
          <a:effectLst/>
        </p:spPr>
        <p:txBody>
          <a:bodyPr lIns="0" tIns="0" rIns="0" bIns="0" anchor="t" anchorCtr="0">
            <a:noAutofit/>
          </a:bodyPr>
          <a:lstStyle>
            <a:lvl1pPr marL="0" indent="0" algn="l">
              <a:defRPr sz="5333" b="0" kern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11" name="Picture 10" descr="St. Luke's 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985" y="5289026"/>
            <a:ext cx="2144569" cy="897991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11892845" y="0"/>
            <a:ext cx="299156" cy="6858000"/>
            <a:chOff x="8919633" y="0"/>
            <a:chExt cx="224367" cy="514350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7C7A68EB-3328-4A0D-9684-B5D28FB57F66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27818445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67102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Cross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155775"/>
            <a:ext cx="329184" cy="481584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11892845" y="0"/>
            <a:ext cx="299156" cy="6858000"/>
            <a:chOff x="8919633" y="0"/>
            <a:chExt cx="224367" cy="51435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10978848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0776077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87ECE7E-12AD-4A55-A242-056F32D86083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094841349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28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1"/>
            <a:ext cx="12226315" cy="687934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969776" cy="0"/>
          </a:xfrm>
          <a:prstGeom prst="line">
            <a:avLst/>
          </a:prstGeom>
          <a:ln w="9525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24" y="6155775"/>
            <a:ext cx="328537" cy="48158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277600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chemeClr val="bg1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074829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FFFFFF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26C2E7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chemeClr val="bg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D74E5E9-1B9F-4EEF-B310-5766BDD79C1D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54775287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30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1"/>
            <a:ext cx="12226315" cy="6879340"/>
          </a:xfrm>
          <a:prstGeom prst="rect">
            <a:avLst/>
          </a:prstGeom>
        </p:spPr>
      </p:pic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969776" cy="0"/>
          </a:xfrm>
          <a:prstGeom prst="line">
            <a:avLst/>
          </a:prstGeom>
          <a:ln w="9525">
            <a:solidFill>
              <a:srgbClr val="6CAED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924" y="6155775"/>
            <a:ext cx="328537" cy="481584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11277600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chemeClr val="bg1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chemeClr val="bg1"/>
              </a:solidFill>
              <a:latin typeface="Arial"/>
              <a:cs typeface="Arial"/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 rot="5400000">
            <a:off x="11074829" y="6395508"/>
            <a:ext cx="307776" cy="2117"/>
          </a:xfrm>
          <a:prstGeom prst="line">
            <a:avLst/>
          </a:prstGeom>
          <a:ln w="9525">
            <a:solidFill>
              <a:srgbClr val="6CAED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FFFFFF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26C2E7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chemeClr val="bg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51F9D59-3A8D-45CA-BAAF-8F4313986341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8670338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284">
    <p:bg>
      <p:bgPr>
        <a:solidFill>
          <a:srgbClr val="1656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3" y="0"/>
            <a:ext cx="12226312" cy="6879339"/>
          </a:xfrm>
          <a:prstGeom prst="rect">
            <a:avLst/>
          </a:prstGeom>
        </p:spPr>
      </p:pic>
      <p:sp>
        <p:nvSpPr>
          <p:cNvPr id="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006254" y="3404720"/>
            <a:ext cx="10179492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 algn="ctr">
              <a:buFontTx/>
              <a:buNone/>
              <a:defRPr sz="2800" b="0" i="1" kern="0" spc="133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1006254" y="2452972"/>
            <a:ext cx="10179492" cy="966611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5333" b="0" i="0" kern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Breaker Sl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10415F5-9A1D-4C7A-9C8D-769BFE860887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17194572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 Slide 288">
    <p:bg>
      <p:bgPr>
        <a:solidFill>
          <a:srgbClr val="1656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0"/>
            <a:ext cx="12226315" cy="6879339"/>
          </a:xfrm>
          <a:prstGeom prst="rect">
            <a:avLst/>
          </a:prstGeom>
        </p:spPr>
      </p:pic>
      <p:sp>
        <p:nvSpPr>
          <p:cNvPr id="6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006254" y="3404720"/>
            <a:ext cx="10179492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 algn="ctr">
              <a:buFontTx/>
              <a:buNone/>
              <a:defRPr sz="2800" b="0" i="1" kern="0" spc="133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9" name="Title 5"/>
          <p:cNvSpPr>
            <a:spLocks noGrp="1"/>
          </p:cNvSpPr>
          <p:nvPr>
            <p:ph type="title" hasCustomPrompt="1"/>
          </p:nvPr>
        </p:nvSpPr>
        <p:spPr>
          <a:xfrm>
            <a:off x="1006254" y="2452972"/>
            <a:ext cx="10179492" cy="966611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5333" b="0" i="0" kern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Breaker Slid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EC497BF-A63D-4FD5-9716-F44314D7E4E8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108172494"/>
      </p:ext>
    </p:extLst>
  </p:cSld>
  <p:clrMapOvr>
    <a:masterClrMapping/>
  </p:clrMapOvr>
  <p:transition spd="slow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 300">
    <p:bg>
      <p:bgPr>
        <a:solidFill>
          <a:srgbClr val="1656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1"/>
            <a:ext cx="12226315" cy="6879340"/>
          </a:xfrm>
          <a:prstGeom prst="rect">
            <a:avLst/>
          </a:prstGeom>
        </p:spPr>
      </p:pic>
      <p:sp>
        <p:nvSpPr>
          <p:cNvPr id="7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006254" y="3404720"/>
            <a:ext cx="10179492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 algn="ctr">
              <a:buFontTx/>
              <a:buNone/>
              <a:defRPr sz="2800" b="0" i="1" kern="0" spc="133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1006254" y="2452972"/>
            <a:ext cx="10179492" cy="966611"/>
          </a:xfrm>
          <a:prstGeom prst="rect">
            <a:avLst/>
          </a:prstGeom>
        </p:spPr>
        <p:txBody>
          <a:bodyPr vert="horz" lIns="0" tIns="0" rIns="0" bIns="0"/>
          <a:lstStyle>
            <a:lvl1pPr>
              <a:defRPr sz="5333" b="0" i="0" kern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Breaker Sl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09F658E-28B4-4C8A-9C89-BC6AD17FC091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22833024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Full 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5085014" y="5524326"/>
            <a:ext cx="299156" cy="1337733"/>
          </a:xfrm>
          <a:prstGeom prst="rect">
            <a:avLst/>
          </a:prstGeom>
          <a:solidFill>
            <a:srgbClr val="26C2E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7" name="Rectangle 16"/>
          <p:cNvSpPr/>
          <p:nvPr userDrawn="1"/>
        </p:nvSpPr>
        <p:spPr>
          <a:xfrm>
            <a:off x="5085014" y="4175303"/>
            <a:ext cx="299156" cy="1420724"/>
          </a:xfrm>
          <a:prstGeom prst="rect">
            <a:avLst/>
          </a:prstGeom>
          <a:solidFill>
            <a:srgbClr val="0093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 userDrawn="1"/>
        </p:nvSpPr>
        <p:spPr>
          <a:xfrm>
            <a:off x="5085014" y="2831926"/>
            <a:ext cx="299156" cy="1415757"/>
          </a:xfrm>
          <a:prstGeom prst="rect">
            <a:avLst/>
          </a:prstGeom>
          <a:solidFill>
            <a:srgbClr val="1B6C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 userDrawn="1"/>
        </p:nvSpPr>
        <p:spPr>
          <a:xfrm>
            <a:off x="5085014" y="0"/>
            <a:ext cx="299156" cy="2899339"/>
          </a:xfrm>
          <a:prstGeom prst="rect">
            <a:avLst/>
          </a:prstGeom>
          <a:solidFill>
            <a:srgbClr val="004B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277600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1" name="Straight Connector 20"/>
          <p:cNvCxnSpPr/>
          <p:nvPr userDrawn="1"/>
        </p:nvCxnSpPr>
        <p:spPr>
          <a:xfrm>
            <a:off x="6096000" y="5952067"/>
            <a:ext cx="54803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>
            <a:off x="11074829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2976" y="1240443"/>
            <a:ext cx="5489424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092976" y="2072126"/>
            <a:ext cx="5489424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 hasCustomPrompt="1"/>
          </p:nvPr>
        </p:nvSpPr>
        <p:spPr>
          <a:xfrm>
            <a:off x="6089952" y="489476"/>
            <a:ext cx="5492448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 baseline="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4C2690B-57E0-4957-A53D-3FFBB568D0CC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246361192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01279" y="0"/>
            <a:ext cx="299156" cy="6862059"/>
            <a:chOff x="3813760" y="0"/>
            <a:chExt cx="224367" cy="5146544"/>
          </a:xfrm>
        </p:grpSpPr>
        <p:sp>
          <p:nvSpPr>
            <p:cNvPr id="15" name="Rectangle 14"/>
            <p:cNvSpPr/>
            <p:nvPr userDrawn="1"/>
          </p:nvSpPr>
          <p:spPr>
            <a:xfrm>
              <a:off x="3813760" y="4143244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3813760" y="3131477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3813760" y="2123944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3813760" y="0"/>
              <a:ext cx="224367" cy="2174504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8" name="TextBox 27"/>
          <p:cNvSpPr txBox="1"/>
          <p:nvPr userDrawn="1"/>
        </p:nvSpPr>
        <p:spPr>
          <a:xfrm>
            <a:off x="5789084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07484" y="5952067"/>
            <a:ext cx="54803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5586313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10508" y="1240443"/>
            <a:ext cx="5489424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2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10508" y="2072126"/>
            <a:ext cx="5489424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3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89476"/>
            <a:ext cx="5492448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 baseline="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4834730-3599-4F1B-9BE5-AC4C23561886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63126929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Full Cr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 userDrawn="1"/>
        </p:nvGrpSpPr>
        <p:grpSpPr>
          <a:xfrm>
            <a:off x="6801279" y="0"/>
            <a:ext cx="299156" cy="6862059"/>
            <a:chOff x="3813760" y="0"/>
            <a:chExt cx="224367" cy="5146544"/>
          </a:xfrm>
        </p:grpSpPr>
        <p:sp>
          <p:nvSpPr>
            <p:cNvPr id="15" name="Rectangle 14"/>
            <p:cNvSpPr/>
            <p:nvPr userDrawn="1"/>
          </p:nvSpPr>
          <p:spPr>
            <a:xfrm>
              <a:off x="3813760" y="4143244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3813760" y="3131477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3813760" y="2123944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3813760" y="0"/>
              <a:ext cx="224367" cy="2174504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28" name="TextBox 27"/>
          <p:cNvSpPr txBox="1"/>
          <p:nvPr userDrawn="1"/>
        </p:nvSpPr>
        <p:spPr>
          <a:xfrm>
            <a:off x="5789084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9" name="Straight Connector 28"/>
          <p:cNvCxnSpPr/>
          <p:nvPr userDrawn="1"/>
        </p:nvCxnSpPr>
        <p:spPr>
          <a:xfrm>
            <a:off x="607484" y="5952067"/>
            <a:ext cx="5480352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 userDrawn="1"/>
        </p:nvCxnSpPr>
        <p:spPr>
          <a:xfrm rot="5400000">
            <a:off x="5586313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10508" y="1240443"/>
            <a:ext cx="5489424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2" hasCustomPrompt="1"/>
          </p:nvPr>
        </p:nvSpPr>
        <p:spPr>
          <a:xfrm>
            <a:off x="610508" y="2072126"/>
            <a:ext cx="5489424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489476"/>
            <a:ext cx="5492448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 baseline="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480D544-195A-44AC-B24D-D01B8CBDD50D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878571302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00EC53C0-7008-49CC-A9F9-AA8FD25D36B6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83288473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White Botto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607484" y="3398348"/>
            <a:ext cx="10220763" cy="369332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400" b="0" spc="107">
                <a:solidFill>
                  <a:srgbClr val="616061"/>
                </a:solidFill>
                <a:latin typeface="Arial"/>
                <a:cs typeface="Helvetica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2/8/18</a:t>
            </a:r>
          </a:p>
        </p:txBody>
      </p:sp>
      <p:sp>
        <p:nvSpPr>
          <p:cNvPr id="4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607484" y="2337369"/>
            <a:ext cx="10220763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800" b="0" i="1" kern="0" spc="133" baseline="0">
                <a:solidFill>
                  <a:srgbClr val="0093D0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607485" y="1521618"/>
            <a:ext cx="10220764" cy="815751"/>
          </a:xfrm>
          <a:prstGeom prst="rect">
            <a:avLst/>
          </a:prstGeom>
          <a:effectLst/>
        </p:spPr>
        <p:txBody>
          <a:bodyPr lIns="0" tIns="0" rIns="0" bIns="0" anchor="t" anchorCtr="0">
            <a:noAutofit/>
          </a:bodyPr>
          <a:lstStyle>
            <a:lvl1pPr marL="0" indent="0" algn="l">
              <a:defRPr sz="5333" b="0" kern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Presentation Title</a:t>
            </a:r>
          </a:p>
        </p:txBody>
      </p:sp>
      <p:pic>
        <p:nvPicPr>
          <p:cNvPr id="11" name="Picture 10" descr="St. Luke's RGB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485" y="5007509"/>
            <a:ext cx="2144569" cy="897991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 rot="5400000">
            <a:off x="1046579" y="5529904"/>
            <a:ext cx="281516" cy="2374675"/>
          </a:xfrm>
          <a:prstGeom prst="rect">
            <a:avLst/>
          </a:prstGeom>
          <a:solidFill>
            <a:srgbClr val="26C2E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8" name="Rectangle 17"/>
          <p:cNvSpPr/>
          <p:nvPr userDrawn="1"/>
        </p:nvSpPr>
        <p:spPr>
          <a:xfrm rot="5400000">
            <a:off x="3367635" y="5456245"/>
            <a:ext cx="281516" cy="2521995"/>
          </a:xfrm>
          <a:prstGeom prst="rect">
            <a:avLst/>
          </a:prstGeom>
          <a:solidFill>
            <a:srgbClr val="0093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9" name="Rectangle 18"/>
          <p:cNvSpPr/>
          <p:nvPr userDrawn="1"/>
        </p:nvSpPr>
        <p:spPr>
          <a:xfrm rot="5400000">
            <a:off x="5756735" y="5460653"/>
            <a:ext cx="281516" cy="2513179"/>
          </a:xfrm>
          <a:prstGeom prst="rect">
            <a:avLst/>
          </a:prstGeom>
          <a:solidFill>
            <a:srgbClr val="1B6CB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0" name="Rectangle 19"/>
          <p:cNvSpPr/>
          <p:nvPr userDrawn="1"/>
        </p:nvSpPr>
        <p:spPr>
          <a:xfrm rot="5400000">
            <a:off x="9472450" y="4138453"/>
            <a:ext cx="281516" cy="5157584"/>
          </a:xfrm>
          <a:prstGeom prst="rect">
            <a:avLst/>
          </a:prstGeom>
          <a:solidFill>
            <a:srgbClr val="004B8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3422ECA-AC14-4867-9D96-43DE50ADE99B}"/>
              </a:ext>
            </a:extLst>
          </p:cNvPr>
          <p:cNvSpPr txBox="1"/>
          <p:nvPr userDrawn="1"/>
        </p:nvSpPr>
        <p:spPr>
          <a:xfrm>
            <a:off x="8188036" y="6279577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275190059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Dark Blue">
    <p:bg>
      <p:bgPr>
        <a:solidFill>
          <a:srgbClr val="004B8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9713" y="1"/>
            <a:ext cx="6742289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3989" y="135469"/>
            <a:ext cx="11887200" cy="6564753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2256" y="4976163"/>
            <a:ext cx="2992408" cy="1249927"/>
          </a:xfrm>
          <a:prstGeom prst="rect">
            <a:avLst/>
          </a:prstGeom>
        </p:spPr>
      </p:pic>
      <p:sp>
        <p:nvSpPr>
          <p:cNvPr id="19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712257" y="3679865"/>
            <a:ext cx="10179491" cy="369332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400" b="0">
                <a:solidFill>
                  <a:srgbClr val="F3D289"/>
                </a:solidFill>
                <a:latin typeface="Arial"/>
                <a:cs typeface="Helvetica"/>
              </a:defRPr>
            </a:lvl1pPr>
            <a:lvl2pPr marL="609570" indent="0">
              <a:buFontTx/>
              <a:buNone/>
              <a:defRPr/>
            </a:lvl2pPr>
            <a:lvl3pPr marL="1219140" indent="0">
              <a:buFontTx/>
              <a:buNone/>
              <a:defRPr/>
            </a:lvl3pPr>
            <a:lvl4pPr marL="1828709" indent="0">
              <a:buFontTx/>
              <a:buNone/>
              <a:defRPr/>
            </a:lvl4pPr>
            <a:lvl5pPr marL="2438278" indent="0">
              <a:buFontTx/>
              <a:buNone/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712255" y="2618888"/>
            <a:ext cx="10179492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800" b="0" i="1" baseline="0">
                <a:solidFill>
                  <a:schemeClr val="bg1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712258" y="1803137"/>
            <a:ext cx="10179492" cy="815751"/>
          </a:xfrm>
          <a:prstGeom prst="rect">
            <a:avLst/>
          </a:prstGeom>
          <a:effectLst/>
        </p:spPr>
        <p:txBody>
          <a:bodyPr lIns="0" tIns="0" rIns="0" bIns="0" anchor="t" anchorCtr="0">
            <a:noAutofit/>
          </a:bodyPr>
          <a:lstStyle>
            <a:lvl1pPr algn="l">
              <a:defRPr sz="5333" b="1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51A2FE9-E83B-4FD4-8162-88A1F6BC760C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91477754"/>
      </p:ext>
    </p:extLst>
  </p:cSld>
  <p:clrMapOvr>
    <a:masterClrMapping/>
  </p:clrMapOvr>
  <p:transition spd="slow"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White Cross Bar-Ro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292987" y="1022742"/>
            <a:ext cx="11445356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83" indent="-304783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26" indent="-452942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08" indent="-304783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2987" y="150809"/>
            <a:ext cx="11445356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000" b="1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1892846" y="1"/>
            <a:ext cx="299156" cy="6858000"/>
            <a:chOff x="8919633" y="0"/>
            <a:chExt cx="224367" cy="51435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prstClr val="white"/>
                </a:solidFill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10978848" y="6300002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0776079" y="6395510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>
            <a:grpSpLocks noChangeAspect="1"/>
          </p:cNvGrpSpPr>
          <p:nvPr userDrawn="1"/>
        </p:nvGrpSpPr>
        <p:grpSpPr>
          <a:xfrm>
            <a:off x="1" y="6126481"/>
            <a:ext cx="1581851" cy="731520"/>
            <a:chOff x="-111642" y="688401"/>
            <a:chExt cx="5141008" cy="2377440"/>
          </a:xfrm>
        </p:grpSpPr>
        <p:pic>
          <p:nvPicPr>
            <p:cNvPr id="18" name="Picture 17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11642" y="688401"/>
              <a:ext cx="5141008" cy="2377440"/>
            </a:xfrm>
            <a:prstGeom prst="rect">
              <a:avLst/>
            </a:prstGeom>
          </p:spPr>
        </p:pic>
        <p:sp>
          <p:nvSpPr>
            <p:cNvPr id="19" name="Rectangle 18"/>
            <p:cNvSpPr/>
            <p:nvPr userDrawn="1"/>
          </p:nvSpPr>
          <p:spPr>
            <a:xfrm>
              <a:off x="2006010" y="2627600"/>
              <a:ext cx="1219200" cy="343458"/>
            </a:xfrm>
            <a:prstGeom prst="rect">
              <a:avLst/>
            </a:prstGeom>
            <a:solidFill>
              <a:srgbClr val="003D79"/>
            </a:solidFill>
            <a:ln>
              <a:solidFill>
                <a:srgbClr val="003D7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>
                <a:solidFill>
                  <a:prstClr val="white"/>
                </a:solidFill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1077A57E-AF83-46F7-9ED8-CBCB0CE02FE6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29779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- White-Rot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1CBC365-07D0-4954-B5C8-AC9864A561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1CBC365-07D0-4954-B5C8-AC9864A561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2">
            <a:extLst>
              <a:ext uri="{FF2B5EF4-FFF2-40B4-BE49-F238E27FC236}">
                <a16:creationId xmlns:a16="http://schemas.microsoft.com/office/drawing/2014/main" id="{9DA52C1F-507D-4D73-A1D5-077F7D13EE76}"/>
              </a:ext>
            </a:extLst>
          </p:cNvPr>
          <p:cNvGrpSpPr/>
          <p:nvPr userDrawn="1"/>
        </p:nvGrpSpPr>
        <p:grpSpPr>
          <a:xfrm>
            <a:off x="0" y="-16933"/>
            <a:ext cx="12192000" cy="1434225"/>
            <a:chOff x="0" y="-12700"/>
            <a:chExt cx="9144000" cy="1075669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66A6280-ACB3-4D8E-864F-D057BE2C54D7}"/>
                </a:ext>
              </a:extLst>
            </p:cNvPr>
            <p:cNvSpPr/>
            <p:nvPr userDrawn="1"/>
          </p:nvSpPr>
          <p:spPr>
            <a:xfrm>
              <a:off x="0" y="-12700"/>
              <a:ext cx="9144000" cy="1075669"/>
            </a:xfrm>
            <a:prstGeom prst="rect">
              <a:avLst/>
            </a:pr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a:blipFill>
            <a:ln w="9525" cap="flat" cmpd="sng" algn="ctr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8105F16-9D2F-426F-AA5E-7745521E7613}"/>
                </a:ext>
              </a:extLst>
            </p:cNvPr>
            <p:cNvSpPr/>
            <p:nvPr userDrawn="1"/>
          </p:nvSpPr>
          <p:spPr>
            <a:xfrm>
              <a:off x="0" y="-12700"/>
              <a:ext cx="9144000" cy="1075669"/>
            </a:xfrm>
            <a:prstGeom prst="rect">
              <a:avLst/>
            </a:prstGeom>
            <a:gradFill rotWithShape="1">
              <a:gsLst>
                <a:gs pos="0">
                  <a:schemeClr val="accent1">
                    <a:tint val="100000"/>
                    <a:shade val="100000"/>
                    <a:satMod val="130000"/>
                    <a:alpha val="84000"/>
                  </a:schemeClr>
                </a:gs>
                <a:gs pos="100000">
                  <a:schemeClr val="accent1">
                    <a:tint val="50000"/>
                    <a:shade val="100000"/>
                    <a:satMod val="350000"/>
                    <a:alpha val="78000"/>
                  </a:scheme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1219193" y="6566943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rot="5400000">
            <a:off x="11139395" y="6641035"/>
            <a:ext cx="182880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74085" y="204620"/>
            <a:ext cx="11596577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2533" b="1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3" name="Group 12"/>
          <p:cNvGrpSpPr>
            <a:grpSpLocks noChangeAspect="1"/>
          </p:cNvGrpSpPr>
          <p:nvPr/>
        </p:nvGrpSpPr>
        <p:grpSpPr>
          <a:xfrm>
            <a:off x="1" y="6126480"/>
            <a:ext cx="1581851" cy="731520"/>
            <a:chOff x="-111642" y="688401"/>
            <a:chExt cx="5141008" cy="237744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11642" y="688401"/>
              <a:ext cx="5141008" cy="2377440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 userDrawn="1"/>
          </p:nvSpPr>
          <p:spPr>
            <a:xfrm>
              <a:off x="2006010" y="2627600"/>
              <a:ext cx="1219200" cy="343458"/>
            </a:xfrm>
            <a:prstGeom prst="rect">
              <a:avLst/>
            </a:prstGeom>
            <a:solidFill>
              <a:srgbClr val="003D79"/>
            </a:solidFill>
            <a:ln>
              <a:solidFill>
                <a:srgbClr val="003D79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/>
            </a:p>
          </p:txBody>
        </p: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7AE901CC-454E-48D4-BE35-D30AF71B59A7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483415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8574CF-1360-4894-B8B8-B6FDC605C9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8574CF-1360-4894-B8B8-B6FDC605C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BF9D12B-BCF1-4423-84A9-8BC6CFF44A5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044"/>
            <a:ext cx="12192000" cy="685495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917303" y="2130553"/>
            <a:ext cx="10369006" cy="75841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17303" y="3008377"/>
            <a:ext cx="10369006" cy="75841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Delete if no additional Subtitle placeholder is used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917303" y="3886201"/>
            <a:ext cx="10369006" cy="2769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Dat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0743FE4-BF03-4F3A-B6E9-DF5724ED4025}"/>
              </a:ext>
            </a:extLst>
          </p:cNvPr>
          <p:cNvGrpSpPr/>
          <p:nvPr/>
        </p:nvGrpSpPr>
        <p:grpSpPr>
          <a:xfrm>
            <a:off x="11768667" y="0"/>
            <a:ext cx="423333" cy="6858000"/>
            <a:chOff x="8919633" y="0"/>
            <a:chExt cx="224367" cy="5143500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E402CC-6A82-4559-A134-F42636F77159}"/>
                </a:ext>
              </a:extLst>
            </p:cNvPr>
            <p:cNvSpPr/>
            <p:nvPr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40BA17E-E921-4DB4-BBAE-C4F609937457}"/>
                </a:ext>
              </a:extLst>
            </p:cNvPr>
            <p:cNvSpPr/>
            <p:nvPr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99A015E-7681-4CA1-9040-554A76EF601D}"/>
                </a:ext>
              </a:extLst>
            </p:cNvPr>
            <p:cNvSpPr/>
            <p:nvPr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020A838-1B36-4B3B-8372-62C268F5F428}"/>
                </a:ext>
              </a:extLst>
            </p:cNvPr>
            <p:cNvSpPr/>
            <p:nvPr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pic>
        <p:nvPicPr>
          <p:cNvPr id="12" name="Picture 11" descr="St. Luke's RGB.png">
            <a:extLst>
              <a:ext uri="{FF2B5EF4-FFF2-40B4-BE49-F238E27FC236}">
                <a16:creationId xmlns:a16="http://schemas.microsoft.com/office/drawing/2014/main" id="{1869D230-C4AE-4135-949F-7A9C95A50F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2" y="5654283"/>
            <a:ext cx="2042447" cy="673493"/>
          </a:xfrm>
          <a:prstGeom prst="rect">
            <a:avLst/>
          </a:prstGeom>
        </p:spPr>
      </p:pic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A3E36E2-4B73-4B04-8C68-7B9F0C73F9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A3E36E2-4B73-4B04-8C68-7B9F0C73F9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86D748FD-F27A-435F-8321-461A8C8AE4E9}"/>
              </a:ext>
            </a:extLst>
          </p:cNvPr>
          <p:cNvGrpSpPr/>
          <p:nvPr userDrawn="1"/>
        </p:nvGrpSpPr>
        <p:grpSpPr>
          <a:xfrm>
            <a:off x="11768667" y="0"/>
            <a:ext cx="423333" cy="6858000"/>
            <a:chOff x="8919633" y="0"/>
            <a:chExt cx="224367" cy="514350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D817A1D-8E49-43F3-B5A9-389DA58F25E3}"/>
                </a:ext>
              </a:extLst>
            </p:cNvPr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74BEF062-4A87-4FDD-8BEF-DBA5DE16BD1D}"/>
                </a:ext>
              </a:extLst>
            </p:cNvPr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D38E7437-E29B-4653-A3B6-0B449D1CCDDB}"/>
                </a:ext>
              </a:extLst>
            </p:cNvPr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6AF86734-C023-4266-9033-60646301E3A4}"/>
                </a:ext>
              </a:extLst>
            </p:cNvPr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/>
            </a:p>
          </p:txBody>
        </p:sp>
      </p:grpSp>
      <p:pic>
        <p:nvPicPr>
          <p:cNvPr id="20" name="Picture 19" descr="St. Luke's RGB.png">
            <a:extLst>
              <a:ext uri="{FF2B5EF4-FFF2-40B4-BE49-F238E27FC236}">
                <a16:creationId xmlns:a16="http://schemas.microsoft.com/office/drawing/2014/main" id="{1C20E354-DC02-4E56-A027-EEEF022DB3F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2" y="5654283"/>
            <a:ext cx="2042447" cy="673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8860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l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8574CF-1360-4894-B8B8-B6FDC605C9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8574CF-1360-4894-B8B8-B6FDC605C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BF9D12B-BCF1-4423-84A9-8BC6CFF44A5A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044"/>
            <a:ext cx="12192000" cy="6854956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917303" y="2130553"/>
            <a:ext cx="10369006" cy="75841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917303" y="3008377"/>
            <a:ext cx="10369006" cy="758413"/>
          </a:xfrm>
        </p:spPr>
        <p:txBody>
          <a:bodyPr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Delete if no additional Subtitle placeholder is used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917303" y="3886201"/>
            <a:ext cx="10369006" cy="276999"/>
          </a:xfrm>
        </p:spPr>
        <p:txBody>
          <a:bodyPr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Date</a:t>
            </a:r>
          </a:p>
        </p:txBody>
      </p:sp>
      <p:pic>
        <p:nvPicPr>
          <p:cNvPr id="12" name="Picture 11" descr="St. Luke's RGB.png">
            <a:extLst>
              <a:ext uri="{FF2B5EF4-FFF2-40B4-BE49-F238E27FC236}">
                <a16:creationId xmlns:a16="http://schemas.microsoft.com/office/drawing/2014/main" id="{1869D230-C4AE-4135-949F-7A9C95A50F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2" y="5654283"/>
            <a:ext cx="2042447" cy="673493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4C904496-E371-47FF-B467-7359C02C57D3}"/>
              </a:ext>
            </a:extLst>
          </p:cNvPr>
          <p:cNvGrpSpPr/>
          <p:nvPr/>
        </p:nvGrpSpPr>
        <p:grpSpPr>
          <a:xfrm rot="16200000" flipH="1">
            <a:off x="5929314" y="595312"/>
            <a:ext cx="333375" cy="12192004"/>
            <a:chOff x="8919633" y="0"/>
            <a:chExt cx="224367" cy="5143500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9A233318-1203-4F8D-ADBC-7131E53E578B}"/>
                </a:ext>
              </a:extLst>
            </p:cNvPr>
            <p:cNvSpPr/>
            <p:nvPr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343847D-ED9E-403E-A721-71248C388509}"/>
                </a:ext>
              </a:extLst>
            </p:cNvPr>
            <p:cNvSpPr/>
            <p:nvPr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61A2C2DD-D1AD-45E8-A815-2E9EBDA381D8}"/>
                </a:ext>
              </a:extLst>
            </p:cNvPr>
            <p:cNvSpPr/>
            <p:nvPr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4A0BA0EA-0DD4-44D5-84F9-2427E00DC8C1}"/>
                </a:ext>
              </a:extLst>
            </p:cNvPr>
            <p:cNvSpPr/>
            <p:nvPr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2B69D55-7C33-49AA-BFF9-346F5011F6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2B69D55-7C33-49AA-BFF9-346F5011F6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St. Luke's RGB.png">
            <a:extLst>
              <a:ext uri="{FF2B5EF4-FFF2-40B4-BE49-F238E27FC236}">
                <a16:creationId xmlns:a16="http://schemas.microsoft.com/office/drawing/2014/main" id="{695A298A-757B-4F64-8033-630A7EC99CC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2" y="5654283"/>
            <a:ext cx="2042447" cy="673493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99C627F0-F719-4B4A-A840-896FF4D74452}"/>
              </a:ext>
            </a:extLst>
          </p:cNvPr>
          <p:cNvGrpSpPr/>
          <p:nvPr userDrawn="1"/>
        </p:nvGrpSpPr>
        <p:grpSpPr>
          <a:xfrm rot="16200000" flipH="1">
            <a:off x="5929314" y="595312"/>
            <a:ext cx="333375" cy="12192004"/>
            <a:chOff x="8919633" y="0"/>
            <a:chExt cx="224367" cy="51435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C0C21B25-6425-4C81-B2BE-6C6C6DF52B38}"/>
                </a:ext>
              </a:extLst>
            </p:cNvPr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60C9AD55-EEC2-4D26-BC03-64C21AA9C280}"/>
                </a:ext>
              </a:extLst>
            </p:cNvPr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26AE2C1-F49D-45D2-A599-40AEFC0E42BF}"/>
                </a:ext>
              </a:extLst>
            </p:cNvPr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4E98D0C9-287A-4260-B92C-06B4666653A5}"/>
                </a:ext>
              </a:extLst>
            </p:cNvPr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083838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18574CF-1360-4894-B8B8-B6FDC605C9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18574CF-1360-4894-B8B8-B6FDC605C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" name="Content Placeholder 11" descr="ppt_photo.png">
            <a:extLst>
              <a:ext uri="{FF2B5EF4-FFF2-40B4-BE49-F238E27FC236}">
                <a16:creationId xmlns:a16="http://schemas.microsoft.com/office/drawing/2014/main" id="{6045F06F-6DFB-48EA-877B-B4496108EF2B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1603" t="4295" b="314"/>
          <a:stretch/>
        </p:blipFill>
        <p:spPr>
          <a:xfrm>
            <a:off x="6519332" y="12168"/>
            <a:ext cx="5687754" cy="6845831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body" sz="quarter" idx="10" hasCustomPrompt="1"/>
          </p:nvPr>
        </p:nvSpPr>
        <p:spPr>
          <a:xfrm>
            <a:off x="590731" y="2130553"/>
            <a:ext cx="5178697" cy="758413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1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title</a:t>
            </a:r>
          </a:p>
        </p:txBody>
      </p:sp>
      <p:sp>
        <p:nvSpPr>
          <p:cNvPr id="4" name="Subtitle"/>
          <p:cNvSpPr>
            <a:spLocks noGrp="1"/>
          </p:cNvSpPr>
          <p:nvPr>
            <p:ph type="body" sz="quarter" idx="13" hasCustomPrompt="1"/>
          </p:nvPr>
        </p:nvSpPr>
        <p:spPr>
          <a:xfrm>
            <a:off x="590731" y="3008377"/>
            <a:ext cx="5178697" cy="1137619"/>
          </a:xfrm>
        </p:spPr>
        <p:txBody>
          <a:bodyPr wrap="square" lIns="0" tIns="0" rIns="0" bIns="0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baseline="0">
                <a:solidFill>
                  <a:schemeClr val="accent2"/>
                </a:solidFill>
                <a:latin typeface="+mj-lt"/>
                <a:ea typeface="+mj-ea"/>
                <a:sym typeface="+mn-lt"/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Delete if no additional Subtitle placeholder is used</a:t>
            </a:r>
          </a:p>
        </p:txBody>
      </p:sp>
      <p:sp>
        <p:nvSpPr>
          <p:cNvPr id="3" name="Date"/>
          <p:cNvSpPr>
            <a:spLocks noGrp="1"/>
          </p:cNvSpPr>
          <p:nvPr>
            <p:ph type="body" sz="quarter" idx="11" hasCustomPrompt="1"/>
          </p:nvPr>
        </p:nvSpPr>
        <p:spPr>
          <a:xfrm>
            <a:off x="590731" y="4644613"/>
            <a:ext cx="5178697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None/>
              <a:defRPr sz="1800">
                <a:solidFill>
                  <a:schemeClr val="accent1"/>
                </a:solidFill>
                <a:latin typeface="+mj-lt"/>
                <a:ea typeface="+mj-ea"/>
              </a:defRPr>
            </a:lvl9pPr>
          </a:lstStyle>
          <a:p>
            <a:pPr lvl="0"/>
            <a:r>
              <a:rPr lang="en-GB"/>
              <a:t>Date</a:t>
            </a:r>
          </a:p>
        </p:txBody>
      </p:sp>
      <p:pic>
        <p:nvPicPr>
          <p:cNvPr id="12" name="Picture 11" descr="St. Luke's RGB.png">
            <a:extLst>
              <a:ext uri="{FF2B5EF4-FFF2-40B4-BE49-F238E27FC236}">
                <a16:creationId xmlns:a16="http://schemas.microsoft.com/office/drawing/2014/main" id="{1869D230-C4AE-4135-949F-7A9C95A50FB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2" y="5654283"/>
            <a:ext cx="2042447" cy="673493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765CC95B-CBC9-41AD-9892-8D12ED8CCBB5}"/>
              </a:ext>
            </a:extLst>
          </p:cNvPr>
          <p:cNvGrpSpPr/>
          <p:nvPr/>
        </p:nvGrpSpPr>
        <p:grpSpPr>
          <a:xfrm>
            <a:off x="6096001" y="0"/>
            <a:ext cx="423333" cy="6858000"/>
            <a:chOff x="8919633" y="0"/>
            <a:chExt cx="224367" cy="5143500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E80B5217-44DC-4C58-B5B4-506631AC8645}"/>
                </a:ext>
              </a:extLst>
            </p:cNvPr>
            <p:cNvSpPr/>
            <p:nvPr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7ABAF07-2FB0-4173-AACD-2A8E419720B2}"/>
                </a:ext>
              </a:extLst>
            </p:cNvPr>
            <p:cNvSpPr/>
            <p:nvPr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B5A943F1-8137-4631-97DB-58AA0495749C}"/>
                </a:ext>
              </a:extLst>
            </p:cNvPr>
            <p:cNvSpPr/>
            <p:nvPr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C0EFECF9-8B98-4757-B86D-9DCC2B567EBA}"/>
                </a:ext>
              </a:extLst>
            </p:cNvPr>
            <p:cNvSpPr/>
            <p:nvPr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7D2844-02F8-4167-9351-A264E5D501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06" imgH="306" progId="TCLayout.ActiveDocument.1">
                  <p:embed/>
                </p:oleObj>
              </mc:Choice>
              <mc:Fallback>
                <p:oleObj name="think-cell Slide" r:id="rId8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7D2844-02F8-4167-9351-A264E5D501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Content Placeholder 11" descr="ppt_photo.png">
            <a:extLst>
              <a:ext uri="{FF2B5EF4-FFF2-40B4-BE49-F238E27FC236}">
                <a16:creationId xmlns:a16="http://schemas.microsoft.com/office/drawing/2014/main" id="{A7AE20A7-C117-4C18-9F86-8A66D7D3F35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11603" t="4295" b="314"/>
          <a:stretch/>
        </p:blipFill>
        <p:spPr>
          <a:xfrm>
            <a:off x="6519332" y="12168"/>
            <a:ext cx="5687754" cy="6845831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6B1E292-D611-4E06-979D-C1552A2D519F}"/>
              </a:ext>
            </a:extLst>
          </p:cNvPr>
          <p:cNvGrpSpPr/>
          <p:nvPr userDrawn="1"/>
        </p:nvGrpSpPr>
        <p:grpSpPr>
          <a:xfrm>
            <a:off x="6096001" y="0"/>
            <a:ext cx="423333" cy="6858000"/>
            <a:chOff x="8919633" y="0"/>
            <a:chExt cx="224367" cy="51435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A5E1DE6B-81DE-4375-B6DA-3B3F75DA35E7}"/>
                </a:ext>
              </a:extLst>
            </p:cNvPr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9C121265-6F65-42B8-9DCF-A4E17CA9BB05}"/>
                </a:ext>
              </a:extLst>
            </p:cNvPr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A8DF2C6A-98AE-4E04-9214-62DB374004C6}"/>
                </a:ext>
              </a:extLst>
            </p:cNvPr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FF8A5C3C-7CE3-427D-9640-7262B9140BC2}"/>
                </a:ext>
              </a:extLst>
            </p:cNvPr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866798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02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22DFBED-7F2C-4CC3-9C06-8266606C1F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22DFBED-7F2C-4CC3-9C06-8266606C1F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24716EB-1377-430A-9E13-E2146A56DE4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94720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A09A838-97FA-418F-9F72-3D10ABDDC1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A09A838-97FA-418F-9F72-3D10ABDDC1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98B001D-C62C-48AA-B637-463FBD492C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07350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4E9753A-1C38-4514-9B16-0B22CBEFD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4E9753A-1C38-4514-9B16-0B22CBEFD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4DD12-943A-4134-A664-18C4823359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11030857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 baseline="0">
                <a:solidFill>
                  <a:srgbClr val="616161"/>
                </a:solidFill>
                <a:latin typeface="+mj-lt"/>
                <a:ea typeface="+mj-ea"/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solidFill>
                  <a:srgbClr val="616161"/>
                </a:solidFill>
                <a:latin typeface="+mj-lt"/>
                <a:ea typeface="+mj-ea"/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aseline="0">
                <a:latin typeface="+mj-lt"/>
                <a:ea typeface="+mj-ea"/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959571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873A45C5-945B-4703-BAF5-45DB69271D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873A45C5-945B-4703-BAF5-45DB69271D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68BE4BCD-5EF2-4E21-A2ED-5642736A3D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11030857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</a:t>
            </a:r>
            <a:r>
              <a:rPr lang="en-US"/>
              <a:t>2</a:t>
            </a:r>
            <a:r>
              <a:t>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</a:t>
            </a:r>
            <a:r>
              <a:rPr lang="en-US"/>
              <a:t>2</a:t>
            </a:r>
            <a:r>
              <a:t>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580572" y="1883664"/>
            <a:ext cx="11030857" cy="444398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3224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28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1"/>
            <a:ext cx="12226315" cy="687934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484" y="5289026"/>
            <a:ext cx="2144568" cy="897991"/>
          </a:xfrm>
          <a:prstGeom prst="rect">
            <a:avLst/>
          </a:prstGeom>
        </p:spPr>
      </p:pic>
      <p:sp>
        <p:nvSpPr>
          <p:cNvPr id="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670984" y="3679865"/>
            <a:ext cx="10220763" cy="369332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400" b="0" spc="107">
                <a:solidFill>
                  <a:schemeClr val="bg1"/>
                </a:solidFill>
                <a:latin typeface="Arial"/>
                <a:cs typeface="Helvetica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2/8/18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607483" y="2618886"/>
            <a:ext cx="10284264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800" b="0" i="1" kern="0" spc="133" baseline="0">
                <a:solidFill>
                  <a:srgbClr val="26C2E7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1803135"/>
            <a:ext cx="10284265" cy="815751"/>
          </a:xfrm>
          <a:prstGeom prst="rect">
            <a:avLst/>
          </a:prstGeom>
          <a:effectLst/>
        </p:spPr>
        <p:txBody>
          <a:bodyPr lIns="0" tIns="0" rIns="0" bIns="0" anchor="t" anchorCtr="0">
            <a:noAutofit/>
          </a:bodyPr>
          <a:lstStyle>
            <a:lvl1pPr marL="0" indent="0" algn="l">
              <a:defRPr sz="5333" b="0" kern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71E49BF-DB98-4E1C-8FD5-BF5647EF2EAD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6036946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CF19AC5-B717-4C0E-9678-2DED42D214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CF19AC5-B717-4C0E-9678-2DED42D214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683B2A4-023C-4F2F-98E9-9FA6D68E6E2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11030857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580572" y="188366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580572" y="4005072"/>
            <a:ext cx="11030857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580572" y="4489704"/>
            <a:ext cx="11030857" cy="183794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8918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orient="horz" pos="1187">
          <p15:clr>
            <a:srgbClr val="FBAE40"/>
          </p15:clr>
        </p15:guide>
        <p15:guide id="8" orient="horz" pos="2523">
          <p15:clr>
            <a:srgbClr val="FBAE40"/>
          </p15:clr>
        </p15:guide>
        <p15:guide id="9" orient="horz" pos="282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FDAA21-1196-4C48-B5AC-63B86A3D00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FDAA21-1196-4C48-B5AC-63B86A3D00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F4801648-E7DC-4A88-9123-C7ECBCF14E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044"/>
            <a:ext cx="12192000" cy="6854956"/>
          </a:xfrm>
          <a:prstGeom prst="rect">
            <a:avLst/>
          </a:prstGeom>
        </p:spPr>
      </p:pic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580572" y="2998070"/>
            <a:ext cx="11030857" cy="1655572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tx2"/>
                </a:solidFill>
                <a:latin typeface="+mj-lt"/>
                <a:ea typeface="+mj-ea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 kern="0" baseline="0" dirty="0" smtClean="0">
                <a:solidFill>
                  <a:schemeClr val="accent2"/>
                </a:solidFill>
                <a:latin typeface="+mj-lt"/>
                <a:ea typeface="+mj-ea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latin typeface="+mj-lt"/>
                <a:ea typeface="+mj-ea"/>
              </a:defRPr>
            </a:lvl9pPr>
          </a:lstStyle>
          <a:p>
            <a:pPr lvl="0"/>
            <a:r>
              <a:t>Click to add section title</a:t>
            </a:r>
          </a:p>
          <a:p>
            <a:pPr lvl="1"/>
            <a:r>
              <a:rPr noProof="0"/>
              <a:t>Click to add 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580572" y="2431142"/>
            <a:ext cx="11030857" cy="566928"/>
          </a:xfrm>
        </p:spPr>
        <p:txBody>
          <a:bodyPr lIns="0" tIns="0" rIns="0" bIns="0" anchor="b"/>
          <a:lstStyle>
            <a:lvl1pPr marL="0" indent="0" algn="ctr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 kern="0" baseline="0">
                <a:solidFill>
                  <a:schemeClr val="tx1"/>
                </a:solidFill>
                <a:latin typeface="+mj-lt"/>
                <a:ea typeface="+mj-ea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sz="2000" kern="0" baseline="0">
                <a:solidFill>
                  <a:schemeClr val="accent3"/>
                </a:solidFill>
                <a:latin typeface="+mj-lt"/>
                <a:ea typeface="+mj-ea"/>
              </a:defRPr>
            </a:lvl9pPr>
          </a:lstStyle>
          <a:p>
            <a:pPr lvl="0"/>
            <a:r>
              <a:t>Section #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B8FBE63D-6420-4475-9481-54BB41EA78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B8FBE63D-6420-4475-9481-54BB41EA78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44809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5CD0E96-24D2-48DF-9B6E-8ADEF988FE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5CD0E96-24D2-48DF-9B6E-8ADEF988FE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CB628D6-DABE-4EA1-A782-DB80C4F6A2C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580571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6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2417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880">
          <p15:clr>
            <a:srgbClr val="FBAE40"/>
          </p15:clr>
        </p15:guide>
        <p15:guide id="4" pos="316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Layou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C47254C-7DCB-4A4A-9E46-057CB95051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C47254C-7DCB-4A4A-9E46-057CB9505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447CCFDA-9156-4C5A-903F-87CDB3F1CB5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552F8297-E765-43C6-84DF-A83F123B2B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6088"/>
            <a:ext cx="5805714" cy="6851912"/>
          </a:xfrm>
          <a:prstGeom prst="rect">
            <a:avLst/>
          </a:prstGeom>
        </p:spPr>
      </p:pic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C28B788-D4BF-416B-ADD3-39750E9BBFCA}"/>
              </a:ext>
            </a:extLst>
          </p:cNvPr>
          <p:cNvSpPr/>
          <p:nvPr/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6386286" y="384048"/>
            <a:ext cx="5225143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6386286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Number">
            <a:extLst>
              <a:ext uri="{FF2B5EF4-FFF2-40B4-BE49-F238E27FC236}">
                <a16:creationId xmlns:a16="http://schemas.microsoft.com/office/drawing/2014/main" id="{8B139EC9-5F46-4320-8354-164908246840}"/>
              </a:ext>
            </a:extLst>
          </p:cNvPr>
          <p:cNvSpPr txBox="1"/>
          <p:nvPr/>
        </p:nvSpPr>
        <p:spPr>
          <a:xfrm>
            <a:off x="11434390" y="6554799"/>
            <a:ext cx="1791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 defTabSz="457200">
              <a:defRPr sz="900">
                <a:solidFill>
                  <a:srgbClr val="1B6CB3"/>
                </a:solidFill>
                <a:latin typeface="Arial"/>
                <a:cs typeface="Arial"/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/>
            <a:fld id="{8F63CC74-D785-4C96-8C6E-EB177D1B9A1D}" type="slidenum">
              <a:rPr lang="en-GB" sz="900" smtClean="0"/>
              <a:pPr lvl="0"/>
              <a:t>‹#›</a:t>
            </a:fld>
            <a:endParaRPr lang="en-GB" sz="90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AF9B1CA-0A40-4A2A-ADD8-13672DDC9E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5805714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1767048E-E7F7-4CC1-883B-8D5F01B8B318}"/>
              </a:ext>
            </a:extLst>
          </p:cNvPr>
          <p:cNvCxnSpPr/>
          <p:nvPr/>
        </p:nvCxnSpPr>
        <p:spPr>
          <a:xfrm rot="5400000">
            <a:off x="11130564" y="6623039"/>
            <a:ext cx="230832" cy="20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SlideNumber">
            <a:extLst>
              <a:ext uri="{FF2B5EF4-FFF2-40B4-BE49-F238E27FC236}">
                <a16:creationId xmlns:a16="http://schemas.microsoft.com/office/drawing/2014/main" id="{3D0AF657-DDB0-424C-BF82-83395E6BAFD1}"/>
              </a:ext>
            </a:extLst>
          </p:cNvPr>
          <p:cNvSpPr txBox="1"/>
          <p:nvPr userDrawn="1"/>
        </p:nvSpPr>
        <p:spPr>
          <a:xfrm>
            <a:off x="11434390" y="6554799"/>
            <a:ext cx="1791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 defTabSz="457200">
              <a:defRPr sz="900">
                <a:solidFill>
                  <a:srgbClr val="1B6CB3"/>
                </a:solidFill>
                <a:latin typeface="Arial"/>
                <a:cs typeface="Arial"/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/>
            <a:fld id="{8F63CC74-D785-4C96-8C6E-EB177D1B9A1D}" type="slidenum">
              <a:rPr lang="en-GB" sz="900" smtClean="0"/>
              <a:pPr lvl="0"/>
              <a:t>‹#›</a:t>
            </a:fld>
            <a:endParaRPr lang="en-GB" sz="90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B69F479-F40E-4488-BA12-23A205420C72}"/>
              </a:ext>
            </a:extLst>
          </p:cNvPr>
          <p:cNvCxnSpPr/>
          <p:nvPr userDrawn="1"/>
        </p:nvCxnSpPr>
        <p:spPr>
          <a:xfrm rot="5400000">
            <a:off x="11130564" y="6623039"/>
            <a:ext cx="230832" cy="20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64924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Lay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7C47254C-7DCB-4A4A-9E46-057CB95051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7C47254C-7DCB-4A4A-9E46-057CB95051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4C28B788-D4BF-416B-ADD3-39750E9BBFCA}"/>
              </a:ext>
            </a:extLst>
          </p:cNvPr>
          <p:cNvSpPr/>
          <p:nvPr/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A75737C-652C-4B44-924A-3037AD6DBBE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86286" y="6088"/>
            <a:ext cx="5805714" cy="6851912"/>
          </a:xfrm>
          <a:prstGeom prst="rect">
            <a:avLst/>
          </a:prstGeom>
        </p:spPr>
      </p:pic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1" y="384048"/>
            <a:ext cx="5225143" cy="75895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580571" y="1399032"/>
            <a:ext cx="5225143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2AF9B1CA-0A40-4A2A-ADD8-13672DDC9E3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86285" y="0"/>
            <a:ext cx="5805716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16" name="Picture 15" descr="Cross.png">
            <a:extLst>
              <a:ext uri="{FF2B5EF4-FFF2-40B4-BE49-F238E27FC236}">
                <a16:creationId xmlns:a16="http://schemas.microsoft.com/office/drawing/2014/main" id="{E4C663DA-CABC-4EF4-A779-8090E2A21C6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1" y="6416004"/>
            <a:ext cx="313509" cy="361188"/>
          </a:xfrm>
          <a:prstGeom prst="rect">
            <a:avLst/>
          </a:prstGeom>
        </p:spPr>
      </p:pic>
      <p:sp>
        <p:nvSpPr>
          <p:cNvPr id="17" name="Rectangle 16" hidden="1">
            <a:extLst>
              <a:ext uri="{FF2B5EF4-FFF2-40B4-BE49-F238E27FC236}">
                <a16:creationId xmlns:a16="http://schemas.microsoft.com/office/drawing/2014/main" id="{9373A46E-FA2E-4EDC-ADD3-B6EC601FD1E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 err="1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pic>
        <p:nvPicPr>
          <p:cNvPr id="24" name="Picture 23" descr="Cross.png">
            <a:extLst>
              <a:ext uri="{FF2B5EF4-FFF2-40B4-BE49-F238E27FC236}">
                <a16:creationId xmlns:a16="http://schemas.microsoft.com/office/drawing/2014/main" id="{A8B49D5C-272C-4190-A712-92FAACEB4D8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1" y="6416004"/>
            <a:ext cx="313509" cy="361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9760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3168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56262A-0510-4B12-8836-F481560537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656262A-0510-4B12-8836-F48156053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0D345ED-3A75-4AB9-A6EA-47DC1409FC6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1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6" y="1399032"/>
            <a:ext cx="5225143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rPr lang="en-US"/>
              <a:t>S</a:t>
            </a:r>
            <a:r>
              <a:t>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386286" y="1883664"/>
            <a:ext cx="5225143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07460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0">
          <p15:clr>
            <a:srgbClr val="FBAE40"/>
          </p15:clr>
        </p15:guide>
        <p15:guide id="6" pos="3168">
          <p15:clr>
            <a:srgbClr val="FBAE40"/>
          </p15:clr>
        </p15:guide>
        <p15:guide id="7" orient="horz" pos="118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69E4A58-592A-4A54-8045-6BD06E1534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69E4A58-592A-4A54-8045-6BD06E1534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4E7C64FC-9B4E-4FD5-A46A-7A148602026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386286" y="1399032"/>
            <a:ext cx="5225143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1495103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0">
          <p15:clr>
            <a:srgbClr val="FBAE40"/>
          </p15:clr>
        </p15:guide>
        <p15:guide id="6" pos="3168">
          <p15:clr>
            <a:srgbClr val="FBAE40"/>
          </p15:clr>
        </p15:guide>
        <p15:guide id="7" orient="horz" pos="118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DA1455-7AE3-4255-9154-3E220D1A0C9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4DA1455-7AE3-4255-9154-3E220D1A0C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951133C-FD9E-4FA6-810D-74B4159F08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399032"/>
            <a:ext cx="5225143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6" y="1399032"/>
            <a:ext cx="5225143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005072"/>
            <a:ext cx="5225143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6" y="4005072"/>
            <a:ext cx="5225143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8088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2880">
          <p15:clr>
            <a:srgbClr val="FBAE40"/>
          </p15:clr>
        </p15:guide>
        <p15:guide id="6" pos="3168">
          <p15:clr>
            <a:srgbClr val="FBAE40"/>
          </p15:clr>
        </p15:guide>
        <p15:guide id="7" orient="horz" pos="2344">
          <p15:clr>
            <a:srgbClr val="FBAE40"/>
          </p15:clr>
        </p15:guide>
        <p15:guide id="8" orient="horz" pos="2523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8C18475-F261-4DDD-A4E4-0E313D5242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8C18475-F261-4DDD-A4E4-0E313D5242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D526E99-B3BB-4725-9E9E-D0C60F63D3B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903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1" y="1883664"/>
            <a:ext cx="5225143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6" y="139903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8"/>
          </p:nvPr>
        </p:nvSpPr>
        <p:spPr>
          <a:xfrm>
            <a:off x="6386286" y="1883664"/>
            <a:ext cx="5225143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507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9"/>
          </p:nvPr>
        </p:nvSpPr>
        <p:spPr>
          <a:xfrm>
            <a:off x="580571" y="4489704"/>
            <a:ext cx="5225143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6" y="400507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20"/>
          </p:nvPr>
        </p:nvSpPr>
        <p:spPr>
          <a:xfrm>
            <a:off x="6386286" y="4489704"/>
            <a:ext cx="5225143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2211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9" pos="2880">
          <p15:clr>
            <a:srgbClr val="FBAE40"/>
          </p15:clr>
        </p15:guide>
        <p15:guide id="10" pos="3168">
          <p15:clr>
            <a:srgbClr val="FBAE40"/>
          </p15:clr>
        </p15:guide>
        <p15:guide id="11" orient="horz" pos="1187">
          <p15:clr>
            <a:srgbClr val="FBAE40"/>
          </p15:clr>
        </p15:guide>
        <p15:guide id="12" orient="horz" pos="2523">
          <p15:clr>
            <a:srgbClr val="FBAE40"/>
          </p15:clr>
        </p15:guide>
        <p15:guide id="13" orient="horz" pos="2828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87DFE0-8E2F-4F93-B609-A8D6BE0F99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87DFE0-8E2F-4F93-B609-A8D6BE0F9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823D001-6022-4F63-9515-8E4FEFDF411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1" y="1398588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6386286" y="139903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580571" y="4004628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6386286" y="4005072"/>
            <a:ext cx="5225143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4019464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8" pos="2880">
          <p15:clr>
            <a:srgbClr val="FBAE40"/>
          </p15:clr>
        </p15:guide>
        <p15:guide id="9" pos="3168">
          <p15:clr>
            <a:srgbClr val="FBAE40"/>
          </p15:clr>
        </p15:guide>
        <p15:guide id="10" orient="horz" pos="1187">
          <p15:clr>
            <a:srgbClr val="FBAE40"/>
          </p15:clr>
        </p15:guide>
        <p15:guide id="11" orient="horz" pos="2523">
          <p15:clr>
            <a:srgbClr val="FBAE40"/>
          </p15:clr>
        </p15:guide>
        <p15:guide id="12" orient="horz" pos="2828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30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315" y="1"/>
            <a:ext cx="12226315" cy="687934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7484" y="5289026"/>
            <a:ext cx="2144568" cy="897991"/>
          </a:xfrm>
          <a:prstGeom prst="rect">
            <a:avLst/>
          </a:prstGeom>
        </p:spPr>
      </p:pic>
      <p:sp>
        <p:nvSpPr>
          <p:cNvPr id="7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670984" y="3679865"/>
            <a:ext cx="10220763" cy="369332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400" b="0" spc="107">
                <a:solidFill>
                  <a:schemeClr val="bg1"/>
                </a:solidFill>
                <a:latin typeface="Arial"/>
                <a:cs typeface="Helvetica"/>
              </a:defRPr>
            </a:lvl1pPr>
            <a:lvl2pPr marL="609585" indent="0">
              <a:buFontTx/>
              <a:buNone/>
              <a:defRPr/>
            </a:lvl2pPr>
            <a:lvl3pPr marL="1219170" indent="0">
              <a:buFontTx/>
              <a:buNone/>
              <a:defRPr/>
            </a:lvl3pPr>
            <a:lvl4pPr marL="1828754" indent="0">
              <a:buFontTx/>
              <a:buNone/>
              <a:defRPr/>
            </a:lvl4pPr>
            <a:lvl5pPr marL="2438339" indent="0">
              <a:buFontTx/>
              <a:buNone/>
              <a:defRPr/>
            </a:lvl5pPr>
          </a:lstStyle>
          <a:p>
            <a:pPr lvl="0"/>
            <a:r>
              <a:rPr lang="en-US"/>
              <a:t>2/8/18</a:t>
            </a:r>
          </a:p>
        </p:txBody>
      </p:sp>
      <p:sp>
        <p:nvSpPr>
          <p:cNvPr id="8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607483" y="2618886"/>
            <a:ext cx="10284264" cy="442041"/>
          </a:xfrm>
          <a:prstGeom prst="rect">
            <a:avLst/>
          </a:prstGeom>
          <a:effectLst/>
        </p:spPr>
        <p:txBody>
          <a:bodyPr vert="horz" lIns="0" tIns="0" rIns="0" bIns="0"/>
          <a:lstStyle>
            <a:lvl1pPr marL="0" indent="0">
              <a:buFontTx/>
              <a:buNone/>
              <a:defRPr sz="2800" b="0" i="1" kern="0" spc="133" baseline="0">
                <a:solidFill>
                  <a:srgbClr val="26C2E7"/>
                </a:solidFill>
                <a:latin typeface="Arial"/>
              </a:defRPr>
            </a:lvl1pPr>
          </a:lstStyle>
          <a:p>
            <a:pPr lvl="0"/>
            <a:r>
              <a:rPr lang="en-US"/>
              <a:t>Sub Title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607484" y="1803135"/>
            <a:ext cx="10284265" cy="815751"/>
          </a:xfrm>
          <a:prstGeom prst="rect">
            <a:avLst/>
          </a:prstGeom>
          <a:effectLst/>
        </p:spPr>
        <p:txBody>
          <a:bodyPr lIns="0" tIns="0" rIns="0" bIns="0" anchor="t" anchorCtr="0">
            <a:noAutofit/>
          </a:bodyPr>
          <a:lstStyle>
            <a:lvl1pPr marL="0" indent="0" algn="l">
              <a:defRPr sz="5333" b="0" kern="0" spc="200">
                <a:solidFill>
                  <a:schemeClr val="bg1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E73EDA-1513-4F9F-A9BC-DE1FA055B80F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4075983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D337C9-3F37-40D4-9E36-891A67966BA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D337C9-3F37-40D4-9E36-891A67966B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A1587AD-291E-497B-9E32-7F7C457D6DB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399032"/>
            <a:ext cx="3286034" cy="4928616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3819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18">
          <p15:clr>
            <a:srgbClr val="FBAE40"/>
          </p15:clr>
        </p15:guide>
        <p15:guide id="6" pos="2209">
          <p15:clr>
            <a:srgbClr val="FBAE40"/>
          </p15:clr>
        </p15:guide>
        <p15:guide id="7" pos="3839">
          <p15:clr>
            <a:srgbClr val="FBAE40"/>
          </p15:clr>
        </p15:guide>
        <p15:guide id="8" pos="413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411DB9F-0653-48C0-80B9-AE01A0AB3B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411DB9F-0653-48C0-80B9-AE01A0AB3B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22AF34A5-34C1-41B4-AD59-F3EE7C15A9B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 marL="228600" indent="-228600"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 marL="228600" indent="-228600"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4452983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 marL="228600" indent="-228600"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 marL="228600" indent="-228600"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0472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1918">
          <p15:clr>
            <a:srgbClr val="FBAE40"/>
          </p15:clr>
        </p15:guide>
        <p15:guide id="8" pos="2209">
          <p15:clr>
            <a:srgbClr val="FBAE40"/>
          </p15:clr>
        </p15:guide>
        <p15:guide id="9" pos="3839">
          <p15:clr>
            <a:srgbClr val="FBAE40"/>
          </p15:clr>
        </p15:guide>
        <p15:guide id="10" pos="4130">
          <p15:clr>
            <a:srgbClr val="FBAE40"/>
          </p15:clr>
        </p15:guide>
        <p15:guide id="11" orient="horz" pos="1187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95ADD7B-7E98-41F4-B82F-6739D81A57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95ADD7B-7E98-41F4-B82F-6739D81A5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BB3068B-599B-4C96-917C-4B2162838C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4452983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8325394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</p:spTree>
    <p:extLst>
      <p:ext uri="{BB962C8B-B14F-4D97-AF65-F5344CB8AC3E}">
        <p14:creationId xmlns:p14="http://schemas.microsoft.com/office/powerpoint/2010/main" val="836510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1918">
          <p15:clr>
            <a:srgbClr val="FBAE40"/>
          </p15:clr>
        </p15:guide>
        <p15:guide id="8" pos="2209">
          <p15:clr>
            <a:srgbClr val="FBAE40"/>
          </p15:clr>
        </p15:guide>
        <p15:guide id="9" pos="3839">
          <p15:clr>
            <a:srgbClr val="FBAE40"/>
          </p15:clr>
        </p15:guide>
        <p15:guide id="10" pos="4130">
          <p15:clr>
            <a:srgbClr val="FBAE40"/>
          </p15:clr>
        </p15:guide>
        <p15:guide id="11" orient="horz" pos="118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0A4EA2D-A709-441D-9F97-88767F0C6D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0A4EA2D-A709-441D-9F97-88767F0C6D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4F31EC0-F132-4704-B242-E22CB79BD5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39903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39903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39903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00507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00507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005072"/>
            <a:ext cx="3286034" cy="2322576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824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7" pos="1918">
          <p15:clr>
            <a:srgbClr val="FBAE40"/>
          </p15:clr>
        </p15:guide>
        <p15:guide id="8" pos="2209">
          <p15:clr>
            <a:srgbClr val="FBAE40"/>
          </p15:clr>
        </p15:guide>
        <p15:guide id="9" pos="3839">
          <p15:clr>
            <a:srgbClr val="FBAE40"/>
          </p15:clr>
        </p15:guide>
        <p15:guide id="10" pos="4130">
          <p15:clr>
            <a:srgbClr val="FBAE40"/>
          </p15:clr>
        </p15:guide>
        <p15:guide id="11" orient="horz" pos="2344">
          <p15:clr>
            <a:srgbClr val="FBAE40"/>
          </p15:clr>
        </p15:guide>
        <p15:guide id="12" orient="horz" pos="2523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0C3F9200-763B-4678-9F2B-773063262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0C3F9200-763B-4678-9F2B-773063262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6EE35E14-D4EF-4062-9982-FA3807FF981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580572" y="188366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22"/>
          </p:nvPr>
        </p:nvSpPr>
        <p:spPr>
          <a:xfrm>
            <a:off x="4452983" y="188366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23"/>
          </p:nvPr>
        </p:nvSpPr>
        <p:spPr>
          <a:xfrm>
            <a:off x="8325394" y="188366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0" name="Content Left Bottom"/>
          <p:cNvSpPr>
            <a:spLocks noGrp="1"/>
          </p:cNvSpPr>
          <p:nvPr>
            <p:ph sz="quarter" idx="24"/>
          </p:nvPr>
        </p:nvSpPr>
        <p:spPr>
          <a:xfrm>
            <a:off x="580572" y="448970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25"/>
          </p:nvPr>
        </p:nvSpPr>
        <p:spPr>
          <a:xfrm>
            <a:off x="4452983" y="448970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6"/>
          </p:nvPr>
        </p:nvSpPr>
        <p:spPr>
          <a:xfrm>
            <a:off x="8325394" y="4489704"/>
            <a:ext cx="3286034" cy="1837944"/>
          </a:xfrm>
        </p:spPr>
        <p:txBody>
          <a:bodyPr>
            <a:noAutofit/>
          </a:bodyPr>
          <a:lstStyle>
            <a:lvl1pPr marL="108000" indent="-108000">
              <a:spcBef>
                <a:spcPts val="600"/>
              </a:spcBef>
              <a:defRPr sz="1000" dirty="0" smtClean="0"/>
            </a:lvl1pPr>
            <a:lvl2pPr marL="216000" indent="-108000">
              <a:spcBef>
                <a:spcPts val="200"/>
              </a:spcBef>
              <a:defRPr sz="1000" dirty="0" smtClean="0"/>
            </a:lvl2pPr>
            <a:lvl3pPr marL="324000" indent="-108000">
              <a:spcBef>
                <a:spcPts val="200"/>
              </a:spcBef>
              <a:defRPr sz="1000" dirty="0" smtClean="0"/>
            </a:lvl3pPr>
            <a:lvl4pPr marL="432000" indent="-108000">
              <a:spcBef>
                <a:spcPts val="200"/>
              </a:spcBef>
              <a:defRPr sz="1000" dirty="0" smtClean="0"/>
            </a:lvl4pPr>
            <a:lvl5pPr marL="540000" indent="-108000">
              <a:spcBef>
                <a:spcPts val="200"/>
              </a:spcBef>
              <a:defRPr sz="1000" dirty="0" smtClean="0"/>
            </a:lvl5pPr>
            <a:lvl6pPr marL="648000" indent="-108000">
              <a:spcBef>
                <a:spcPts val="200"/>
              </a:spcBef>
              <a:defRPr sz="1000" dirty="0" smtClean="0"/>
            </a:lvl6pPr>
            <a:lvl7pPr marL="756000" indent="-108000">
              <a:spcBef>
                <a:spcPts val="200"/>
              </a:spcBef>
              <a:defRPr sz="1000" dirty="0" smtClean="0"/>
            </a:lvl7pPr>
            <a:lvl8pPr marL="864000" indent="-108000">
              <a:spcBef>
                <a:spcPts val="200"/>
              </a:spcBef>
              <a:defRPr sz="1000" dirty="0" smtClean="0"/>
            </a:lvl8pPr>
            <a:lvl9pPr marL="972000" indent="-108000">
              <a:spcBef>
                <a:spcPts val="200"/>
              </a:spcBef>
              <a:defRPr sz="10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1410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1" pos="1918">
          <p15:clr>
            <a:srgbClr val="FBAE40"/>
          </p15:clr>
        </p15:guide>
        <p15:guide id="12" pos="2209">
          <p15:clr>
            <a:srgbClr val="FBAE40"/>
          </p15:clr>
        </p15:guide>
        <p15:guide id="13" pos="3839">
          <p15:clr>
            <a:srgbClr val="FBAE40"/>
          </p15:clr>
        </p15:guide>
        <p15:guide id="14" pos="4130">
          <p15:clr>
            <a:srgbClr val="FBAE40"/>
          </p15:clr>
        </p15:guide>
        <p15:guide id="15" orient="horz" pos="1187">
          <p15:clr>
            <a:srgbClr val="FBAE40"/>
          </p15:clr>
        </p15:guide>
        <p15:guide id="16" orient="horz" pos="2523">
          <p15:clr>
            <a:srgbClr val="FBAE40"/>
          </p15:clr>
        </p15:guide>
        <p15:guide id="17" orient="horz" pos="2828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023979B-E1B5-44D2-AF6B-316BA24B27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023979B-E1B5-44D2-AF6B-316BA24B27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6BD606-2CB1-44FF-B09C-42DA5886F80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4452983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8325394" y="139903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580572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4452983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8325394" y="4005072"/>
            <a:ext cx="3286034" cy="301752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0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0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0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0 pt</a:t>
            </a:r>
          </a:p>
        </p:txBody>
      </p:sp>
    </p:spTree>
    <p:extLst>
      <p:ext uri="{BB962C8B-B14F-4D97-AF65-F5344CB8AC3E}">
        <p14:creationId xmlns:p14="http://schemas.microsoft.com/office/powerpoint/2010/main" val="2943429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0" pos="1918">
          <p15:clr>
            <a:srgbClr val="FBAE40"/>
          </p15:clr>
        </p15:guide>
        <p15:guide id="11" pos="2209">
          <p15:clr>
            <a:srgbClr val="FBAE40"/>
          </p15:clr>
        </p15:guide>
        <p15:guide id="12" pos="3839">
          <p15:clr>
            <a:srgbClr val="FBAE40"/>
          </p15:clr>
        </p15:guide>
        <p15:guide id="13" pos="4130">
          <p15:clr>
            <a:srgbClr val="FBAE40"/>
          </p15:clr>
        </p15:guide>
        <p15:guide id="14" orient="horz" pos="1187">
          <p15:clr>
            <a:srgbClr val="FBAE40"/>
          </p15:clr>
        </p15:guide>
        <p15:guide id="15" orient="horz" pos="2523">
          <p15:clr>
            <a:srgbClr val="FBAE40"/>
          </p15:clr>
        </p15:guide>
        <p15:guide id="16" orient="horz" pos="2828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24E4B24-48B3-4CDA-A630-A51549E7AC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24E4B24-48B3-4CDA-A630-A51549E7AC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E308215-8D63-4153-907D-DA0E9228B54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4447177" y="1399032"/>
            <a:ext cx="7164251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4447177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252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1918">
          <p15:clr>
            <a:srgbClr val="FBAE40"/>
          </p15:clr>
        </p15:guide>
        <p15:guide id="6" pos="2206">
          <p15:clr>
            <a:srgbClr val="FBAE40"/>
          </p15:clr>
        </p15:guide>
        <p15:guide id="7" orient="horz" pos="118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CD3E234-43BB-4F53-A78E-8DF7E046FA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CD3E234-43BB-4F53-A78E-8DF7E046FA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CF98597-AB20-4DB1-9B1B-4A934C01F91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US" sz="2000" b="0" i="0" kern="0" baseline="0">
              <a:solidFill>
                <a:schemeClr val="tx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580572" y="1399032"/>
            <a:ext cx="7164251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580572" y="1883664"/>
            <a:ext cx="7164251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8325394" y="1399032"/>
            <a:ext cx="3286034" cy="365760"/>
          </a:xfr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200" b="1" baseline="0" dirty="0">
                <a:solidFill>
                  <a:srgbClr val="616161"/>
                </a:solidFill>
                <a:latin typeface="+mj-lt"/>
                <a:ea typeface="+mj-ea"/>
              </a:defRPr>
            </a:lvl1pPr>
            <a:lvl2pPr>
              <a:buFontTx/>
              <a:buNone/>
              <a:defRPr sz="1200" baseline="0" dirty="0">
                <a:solidFill>
                  <a:srgbClr val="616161"/>
                </a:solidFill>
                <a:latin typeface="+mj-lt"/>
                <a:ea typeface="+mj-ea"/>
              </a:defRPr>
            </a:lvl2pPr>
          </a:lstStyle>
          <a:p>
            <a:pPr marL="0" lvl="0" indent="0">
              <a:spcBef>
                <a:spcPts val="0"/>
              </a:spcBef>
              <a:buChar char="​"/>
            </a:pPr>
            <a:r>
              <a:t>Heading 12 pt</a:t>
            </a:r>
          </a:p>
          <a:p>
            <a:pPr marL="0" lvl="1" indent="0">
              <a:spcBef>
                <a:spcPts val="0"/>
              </a:spcBef>
              <a:buChar char="​"/>
            </a:pPr>
            <a:r>
              <a:t>Subheading 12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8325394" y="1883664"/>
            <a:ext cx="3286034" cy="4443984"/>
          </a:xfrm>
        </p:spPr>
        <p:txBody>
          <a:bodyPr>
            <a:noAutofit/>
          </a:bodyPr>
          <a:lstStyle>
            <a:lvl1pPr>
              <a:defRPr sz="1200" dirty="0" smtClean="0"/>
            </a:lvl1pPr>
            <a:lvl2pPr>
              <a:defRPr sz="1200" dirty="0" smtClean="0"/>
            </a:lvl2pPr>
            <a:lvl3pPr>
              <a:defRPr sz="1200" dirty="0" smtClean="0"/>
            </a:lvl3pPr>
            <a:lvl4pPr>
              <a:defRPr sz="1200" dirty="0" smtClean="0"/>
            </a:lvl4pPr>
            <a:lvl5pPr>
              <a:defRPr sz="1200" dirty="0" smtClean="0"/>
            </a:lvl5pPr>
            <a:lvl6pPr>
              <a:defRPr sz="1200" dirty="0" smtClean="0"/>
            </a:lvl6pPr>
            <a:lvl7pPr>
              <a:defRPr sz="1200" dirty="0" smtClean="0"/>
            </a:lvl7pPr>
            <a:lvl8pPr>
              <a:defRPr sz="1200" dirty="0" smtClean="0"/>
            </a:lvl8pPr>
            <a:lvl9pPr>
              <a:defRPr sz="1200" dirty="0" smtClean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6006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pos="3842">
          <p15:clr>
            <a:srgbClr val="FBAE40"/>
          </p15:clr>
        </p15:guide>
        <p15:guide id="6" pos="4130">
          <p15:clr>
            <a:srgbClr val="FBAE40"/>
          </p15:clr>
        </p15:guide>
        <p15:guide id="7" orient="horz" pos="1187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9ECBC0-1088-4F89-ACDC-3655457F24A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9ECBC0-1088-4F89-ACDC-3655457F24A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ontent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749804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5347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White Cros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11277600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2" name="Straight Connector 21"/>
          <p:cNvCxnSpPr/>
          <p:nvPr userDrawn="1"/>
        </p:nvCxnSpPr>
        <p:spPr>
          <a:xfrm rot="5400000">
            <a:off x="11074829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969776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969776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972800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CF9D3D9-EE62-44E4-96F5-5EB8531152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10" y="6004560"/>
            <a:ext cx="1842657" cy="85344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BF265C7-CB98-4395-94AF-187930DCFD8D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201718756"/>
      </p:ext>
    </p:extLst>
  </p:cSld>
  <p:clrMapOvr>
    <a:masterClrMapping/>
  </p:clrMapOvr>
  <p:transition spd="slow">
    <p:wip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969777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969777" cy="405688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100" b="0" i="1" kern="0" spc="105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969777" cy="3610252"/>
          </a:xfrm>
          <a:prstGeom prst="rect">
            <a:avLst/>
          </a:prstGeom>
          <a:effectLst/>
        </p:spPr>
        <p:txBody>
          <a:bodyPr lIns="0" tIns="0" rIns="0" bIns="0"/>
          <a:lstStyle>
            <a:lvl1pPr marL="240024" indent="-240024">
              <a:lnSpc>
                <a:spcPct val="110000"/>
              </a:lnSpc>
              <a:buFont typeface="Arial"/>
              <a:buChar char="•"/>
              <a:defRPr sz="252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596727" indent="-356702">
              <a:lnSpc>
                <a:spcPct val="110000"/>
              </a:lnSpc>
              <a:buFont typeface="Wingdings" charset="2"/>
              <a:buChar char="ü"/>
              <a:defRPr sz="2205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836750" indent="-240024">
              <a:lnSpc>
                <a:spcPct val="110000"/>
              </a:lnSpc>
              <a:buSzPct val="118000"/>
              <a:buFont typeface="Arial"/>
              <a:buChar char="•"/>
              <a:defRPr sz="189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6577" y="489478"/>
            <a:ext cx="10972800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3570" b="0" spc="158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2476437"/>
      </p:ext>
    </p:extLst>
  </p:cSld>
  <p:clrMapOvr>
    <a:masterClrMapping/>
  </p:clrMapOvr>
  <p:transition spd="slow">
    <p:wip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6B7E770-C57E-4D86-96CF-E46B3C78112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0" y="1577010"/>
            <a:ext cx="12192000" cy="3108005"/>
          </a:xfrm>
          <a:custGeom>
            <a:avLst/>
            <a:gdLst>
              <a:gd name="connsiteX0" fmla="*/ 0 w 12192000"/>
              <a:gd name="connsiteY0" fmla="*/ 0 h 3108005"/>
              <a:gd name="connsiteX1" fmla="*/ 12192000 w 12192000"/>
              <a:gd name="connsiteY1" fmla="*/ 0 h 3108005"/>
              <a:gd name="connsiteX2" fmla="*/ 12192000 w 12192000"/>
              <a:gd name="connsiteY2" fmla="*/ 3108005 h 3108005"/>
              <a:gd name="connsiteX3" fmla="*/ 0 w 12192000"/>
              <a:gd name="connsiteY3" fmla="*/ 3108005 h 3108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108005">
                <a:moveTo>
                  <a:pt x="0" y="0"/>
                </a:moveTo>
                <a:lnTo>
                  <a:pt x="12192000" y="0"/>
                </a:lnTo>
                <a:lnTo>
                  <a:pt x="12192000" y="3108005"/>
                </a:lnTo>
                <a:lnTo>
                  <a:pt x="0" y="3108005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FAA26D3D-D897-4be2-8F04-BA451C77F1D7}">
              <ma14:placeholderFlag xmlns="" xmlns:ma14="http://schemas.microsoft.com/office/mac/drawingml/2011/main" val="1"/>
            </a:ex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4458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 Cross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671024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 descr="Cross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155775"/>
            <a:ext cx="329184" cy="481584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11892845" y="0"/>
            <a:ext cx="299156" cy="6858000"/>
            <a:chOff x="8919633" y="0"/>
            <a:chExt cx="224367" cy="51435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10978848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0776077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B35D1593-3CCF-40C5-A0A7-282C49EE710C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384058769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- White Cross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98EF6F2-ED30-41ED-9CF2-B971EF40AD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98EF6F2-ED30-41ED-9CF2-B971EF40AD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1892845" y="0"/>
            <a:ext cx="299156" cy="6858000"/>
            <a:chOff x="8919633" y="0"/>
            <a:chExt cx="224367" cy="51435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10978848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0776077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4CF9D3D9-EE62-44E4-96F5-5EB85311522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110" y="6004560"/>
            <a:ext cx="1842657" cy="85344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9EC0CC75-F314-449E-973E-52F6B27FCC5E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588153363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 - White Cross B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668000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743935" y="2153109"/>
            <a:ext cx="10668000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671024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11892845" y="0"/>
            <a:ext cx="299156" cy="6858000"/>
            <a:chOff x="8919633" y="0"/>
            <a:chExt cx="224367" cy="5143500"/>
          </a:xfrm>
        </p:grpSpPr>
        <p:sp>
          <p:nvSpPr>
            <p:cNvPr id="24" name="Rectangle 23"/>
            <p:cNvSpPr/>
            <p:nvPr userDrawn="1"/>
          </p:nvSpPr>
          <p:spPr>
            <a:xfrm>
              <a:off x="8919633" y="4140200"/>
              <a:ext cx="224367" cy="1003300"/>
            </a:xfrm>
            <a:prstGeom prst="rect">
              <a:avLst/>
            </a:prstGeom>
            <a:solidFill>
              <a:srgbClr val="26C2E7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8919633" y="3128433"/>
              <a:ext cx="224367" cy="1065543"/>
            </a:xfrm>
            <a:prstGeom prst="rect">
              <a:avLst/>
            </a:prstGeom>
            <a:solidFill>
              <a:srgbClr val="0093D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6" name="Rectangle 25"/>
            <p:cNvSpPr/>
            <p:nvPr userDrawn="1"/>
          </p:nvSpPr>
          <p:spPr>
            <a:xfrm>
              <a:off x="8919633" y="2120900"/>
              <a:ext cx="224367" cy="1061818"/>
            </a:xfrm>
            <a:prstGeom prst="rect">
              <a:avLst/>
            </a:prstGeom>
            <a:solidFill>
              <a:srgbClr val="1B6CB3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8919633" y="0"/>
              <a:ext cx="224367" cy="2171460"/>
            </a:xfrm>
            <a:prstGeom prst="rect">
              <a:avLst/>
            </a:prstGeom>
            <a:solidFill>
              <a:srgbClr val="004B8D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10978848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17" name="Straight Connector 16"/>
          <p:cNvCxnSpPr/>
          <p:nvPr userDrawn="1"/>
        </p:nvCxnSpPr>
        <p:spPr>
          <a:xfrm rot="5400000">
            <a:off x="10776077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 userDrawn="1"/>
        </p:nvSpPr>
        <p:spPr>
          <a:xfrm>
            <a:off x="2003208" y="3239973"/>
            <a:ext cx="7709001" cy="3677657"/>
          </a:xfrm>
          <a:prstGeom prst="rect">
            <a:avLst/>
          </a:prstGeom>
          <a:blipFill dpi="0" rotWithShape="1">
            <a:blip r:embed="rId2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249EE04-F923-4441-B868-2B994DC71FC0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872036396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 userDrawn="1"/>
        </p:nvSpPr>
        <p:spPr>
          <a:xfrm>
            <a:off x="11277600" y="6300000"/>
            <a:ext cx="298752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976C6360-7A1C-9A4D-B4EF-E06C8B49EF4E}" type="slidenum">
              <a:rPr lang="en-US" sz="1200" smtClean="0">
                <a:solidFill>
                  <a:srgbClr val="1B6CB3"/>
                </a:solidFill>
                <a:latin typeface="Arial"/>
                <a:cs typeface="Arial"/>
              </a:rPr>
              <a:pPr algn="r"/>
              <a:t>‹#›</a:t>
            </a:fld>
            <a:endParaRPr lang="en-US" sz="1200">
              <a:solidFill>
                <a:srgbClr val="1B6CB3"/>
              </a:solidFill>
              <a:latin typeface="Arial"/>
              <a:cs typeface="Arial"/>
            </a:endParaRPr>
          </a:p>
        </p:txBody>
      </p:sp>
      <p:cxnSp>
        <p:nvCxnSpPr>
          <p:cNvPr id="20" name="Straight Connector 19"/>
          <p:cNvCxnSpPr/>
          <p:nvPr userDrawn="1"/>
        </p:nvCxnSpPr>
        <p:spPr>
          <a:xfrm>
            <a:off x="606576" y="5952067"/>
            <a:ext cx="10969776" cy="0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 userDrawn="1"/>
        </p:nvCxnSpPr>
        <p:spPr>
          <a:xfrm rot="5400000">
            <a:off x="11074829" y="6395508"/>
            <a:ext cx="307776" cy="21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Cross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" y="6155775"/>
            <a:ext cx="329184" cy="481584"/>
          </a:xfrm>
          <a:prstGeom prst="rect">
            <a:avLst/>
          </a:prstGeom>
        </p:spPr>
      </p:pic>
      <p:sp>
        <p:nvSpPr>
          <p:cNvPr id="9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609600" y="1240443"/>
            <a:ext cx="10969776" cy="410433"/>
          </a:xfrm>
          <a:prstGeom prst="rect">
            <a:avLst/>
          </a:prstGeom>
        </p:spPr>
        <p:txBody>
          <a:bodyPr vert="horz" lIns="0" tIns="0" rIns="0" bIns="0"/>
          <a:lstStyle>
            <a:lvl1pPr>
              <a:buNone/>
              <a:defRPr sz="2667" b="0" i="1" kern="0" spc="133" baseline="0">
                <a:solidFill>
                  <a:srgbClr val="0093D0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2"/>
          </p:nvPr>
        </p:nvSpPr>
        <p:spPr>
          <a:xfrm>
            <a:off x="609600" y="2072126"/>
            <a:ext cx="10969776" cy="1550424"/>
          </a:xfrm>
          <a:prstGeom prst="rect">
            <a:avLst/>
          </a:prstGeom>
          <a:effectLst/>
        </p:spPr>
        <p:txBody>
          <a:bodyPr lIns="0" tIns="0" rIns="0" bIns="0"/>
          <a:lstStyle>
            <a:lvl1pPr marL="304792" indent="-304792">
              <a:lnSpc>
                <a:spcPct val="110000"/>
              </a:lnSpc>
              <a:buFont typeface="Arial"/>
              <a:buChar char="•"/>
              <a:defRPr sz="3200" b="0" i="0" kern="0">
                <a:solidFill>
                  <a:srgbClr val="616061"/>
                </a:solidFill>
                <a:latin typeface="Arial"/>
                <a:cs typeface="Helvetica"/>
              </a:defRPr>
            </a:lvl1pPr>
            <a:lvl2pPr marL="757748" indent="-452955">
              <a:lnSpc>
                <a:spcPct val="110000"/>
              </a:lnSpc>
              <a:buFont typeface="Wingdings" charset="2"/>
              <a:buChar char="ü"/>
              <a:defRPr sz="2800" b="0" i="1">
                <a:solidFill>
                  <a:srgbClr val="1B6CB3"/>
                </a:solidFill>
                <a:latin typeface="Arial"/>
                <a:cs typeface="Helvetica"/>
              </a:defRPr>
            </a:lvl2pPr>
            <a:lvl3pPr marL="1062540" indent="-304792">
              <a:lnSpc>
                <a:spcPct val="110000"/>
              </a:lnSpc>
              <a:buSzPct val="118000"/>
              <a:buFont typeface="Arial"/>
              <a:buChar char="•"/>
              <a:defRPr sz="2400" b="0" i="0">
                <a:solidFill>
                  <a:srgbClr val="616061"/>
                </a:solidFill>
                <a:latin typeface="Arial"/>
                <a:cs typeface="Helvetica"/>
              </a:defRPr>
            </a:lvl3pPr>
            <a:lvl4pPr>
              <a:defRPr>
                <a:solidFill>
                  <a:srgbClr val="FFFFFF"/>
                </a:solidFill>
                <a:latin typeface="Helvetica"/>
                <a:cs typeface="Helvetica"/>
              </a:defRPr>
            </a:lvl4pPr>
            <a:lvl5pPr>
              <a:defRPr>
                <a:solidFill>
                  <a:srgbClr val="FFFFFF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06576" y="489476"/>
            <a:ext cx="10972800" cy="677337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defRPr sz="4533" b="0" spc="200">
                <a:solidFill>
                  <a:srgbClr val="1B6CB3"/>
                </a:solidFill>
                <a:latin typeface="Arial Narrow"/>
                <a:cs typeface="Arial Narrow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058C64-FC24-48C9-B7BD-CC37054EA125}"/>
              </a:ext>
            </a:extLst>
          </p:cNvPr>
          <p:cNvSpPr txBox="1"/>
          <p:nvPr userDrawn="1"/>
        </p:nvSpPr>
        <p:spPr>
          <a:xfrm>
            <a:off x="7592291" y="6515312"/>
            <a:ext cx="317269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333" b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 –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974996735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slideLayout" Target="../slideLayouts/slideLayout48.xml"/><Relationship Id="rId3" Type="http://schemas.openxmlformats.org/officeDocument/2006/relationships/slideLayout" Target="../slideLayouts/slideLayout25.xml"/><Relationship Id="rId21" Type="http://schemas.openxmlformats.org/officeDocument/2006/relationships/slideLayout" Target="../slideLayouts/slideLayout43.xml"/><Relationship Id="rId34" Type="http://schemas.openxmlformats.org/officeDocument/2006/relationships/image" Target="../media/image17.emf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slideLayout" Target="../slideLayouts/slideLayout47.xml"/><Relationship Id="rId33" Type="http://schemas.openxmlformats.org/officeDocument/2006/relationships/oleObject" Target="../embeddings/oleObject4.bin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slideLayout" Target="../slideLayouts/slideLayout42.xml"/><Relationship Id="rId29" Type="http://schemas.openxmlformats.org/officeDocument/2006/relationships/slideLayout" Target="../slideLayouts/slideLayout51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slideLayout" Target="../slideLayouts/slideLayout46.xml"/><Relationship Id="rId32" Type="http://schemas.openxmlformats.org/officeDocument/2006/relationships/tags" Target="../tags/tag5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slideLayout" Target="../slideLayouts/slideLayout45.xml"/><Relationship Id="rId28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slideLayout" Target="../slideLayouts/slideLayout44.xml"/><Relationship Id="rId27" Type="http://schemas.openxmlformats.org/officeDocument/2006/relationships/slideLayout" Target="../slideLayouts/slideLayout49.xml"/><Relationship Id="rId30" Type="http://schemas.openxmlformats.org/officeDocument/2006/relationships/theme" Target="../theme/theme2.xml"/><Relationship Id="rId35" Type="http://schemas.openxmlformats.org/officeDocument/2006/relationships/image" Target="../media/image18.png"/><Relationship Id="rId8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8596814-F6E7-4560-B5F5-16E58DA68E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395" imgH="394" progId="TCLayout.ActiveDocument.1">
                  <p:embed/>
                </p:oleObj>
              </mc:Choice>
              <mc:Fallback>
                <p:oleObj name="think-cell Slide" r:id="rId2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8596814-F6E7-4560-B5F5-16E58DA68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8240B29-988D-40FB-9A7C-8351DD0661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6684"/>
            <a:ext cx="10515600" cy="3044936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6008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 spd="slow">
    <p:wipe dir="r"/>
  </p:transition>
  <p:hf sldNum="0" hdr="0" ft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E9B0FAEF-023D-4EE6-8C15-38DE1DB9CAA6}"/>
              </a:ext>
            </a:extLst>
          </p:cNvPr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2016" y="1588"/>
          <a:ext cx="20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06" imgH="306" progId="TCLayout.ActiveDocument.1">
                  <p:embed/>
                </p:oleObj>
              </mc:Choice>
              <mc:Fallback>
                <p:oleObj name="think-cell Slide" r:id="rId33" imgW="306" imgH="306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E9B0FAEF-023D-4EE6-8C15-38DE1DB9CA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2016" y="1588"/>
                        <a:ext cx="20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BFE4DFA9-63BF-4B27-8B6E-19DDEFB98E2C}"/>
              </a:ext>
            </a:extLst>
          </p:cNvPr>
          <p:cNvSpPr/>
          <p:nvPr/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kern="0" baseline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580572" y="384048"/>
            <a:ext cx="11030857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580572" y="1399032"/>
            <a:ext cx="11030857" cy="49286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580572" y="6864350"/>
            <a:ext cx="39914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accent4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979714" y="6864350"/>
            <a:ext cx="677333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accent4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657048" y="6864350"/>
            <a:ext cx="193524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accent4"/>
                </a:solidFill>
              </a:defRPr>
            </a:lvl1pPr>
          </a:lstStyle>
          <a:p>
            <a:fld id="{8F63CC74-D785-4C96-8C6E-EB177D1B9A1D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SlideNumber"/>
          <p:cNvSpPr txBox="1"/>
          <p:nvPr/>
        </p:nvSpPr>
        <p:spPr>
          <a:xfrm>
            <a:off x="11414035" y="6547105"/>
            <a:ext cx="1994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 defTabSz="457200">
              <a:defRPr sz="900">
                <a:solidFill>
                  <a:srgbClr val="1B6CB3"/>
                </a:solidFill>
                <a:latin typeface="Arial"/>
                <a:cs typeface="Arial"/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/>
            <a:fld id="{8F63CC74-D785-4C96-8C6E-EB177D1B9A1D}" type="slidenum">
              <a:rPr lang="en-GB" sz="900" smtClean="0"/>
              <a:pPr lvl="0"/>
              <a:t>‹#›</a:t>
            </a:fld>
            <a:endParaRPr lang="en-GB" sz="900"/>
          </a:p>
        </p:txBody>
      </p:sp>
      <p:pic>
        <p:nvPicPr>
          <p:cNvPr id="14" name="Picture 13" descr="Cross.png">
            <a:extLst>
              <a:ext uri="{FF2B5EF4-FFF2-40B4-BE49-F238E27FC236}">
                <a16:creationId xmlns:a16="http://schemas.microsoft.com/office/drawing/2014/main" id="{A213A370-D6F7-4821-9BFA-400984EA9402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1" y="6416004"/>
            <a:ext cx="313509" cy="361188"/>
          </a:xfrm>
          <a:prstGeom prst="rect">
            <a:avLst/>
          </a:prstGeom>
        </p:spPr>
      </p:pic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8D70340-2BCD-4A4D-8B01-AF1992E02BCD}"/>
              </a:ext>
            </a:extLst>
          </p:cNvPr>
          <p:cNvCxnSpPr/>
          <p:nvPr/>
        </p:nvCxnSpPr>
        <p:spPr>
          <a:xfrm rot="5400000">
            <a:off x="11130564" y="6623039"/>
            <a:ext cx="230832" cy="20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8" name="Rectangle 17" hidden="1">
            <a:extLst>
              <a:ext uri="{FF2B5EF4-FFF2-40B4-BE49-F238E27FC236}">
                <a16:creationId xmlns:a16="http://schemas.microsoft.com/office/drawing/2014/main" id="{4C6CD8C0-EA77-4338-BD70-42CAFF2CD158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201587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8000"/>
              </a:lnSpc>
              <a:spcBef>
                <a:spcPct val="0"/>
              </a:spcBef>
              <a:spcAft>
                <a:spcPct val="0"/>
              </a:spcAft>
            </a:pPr>
            <a:endParaRPr lang="en-GB" sz="2000" b="0" i="0" kern="0" baseline="0" err="1">
              <a:solidFill>
                <a:schemeClr val="tx1"/>
              </a:solidFill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19" name="SlideNumber">
            <a:extLst>
              <a:ext uri="{FF2B5EF4-FFF2-40B4-BE49-F238E27FC236}">
                <a16:creationId xmlns:a16="http://schemas.microsoft.com/office/drawing/2014/main" id="{A576E3D5-65EA-4457-B601-521F00B99FC2}"/>
              </a:ext>
            </a:extLst>
          </p:cNvPr>
          <p:cNvSpPr txBox="1"/>
          <p:nvPr userDrawn="1"/>
        </p:nvSpPr>
        <p:spPr>
          <a:xfrm>
            <a:off x="11414035" y="6547105"/>
            <a:ext cx="199484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algn="r" defTabSz="457200">
              <a:defRPr sz="900">
                <a:solidFill>
                  <a:srgbClr val="1B6CB3"/>
                </a:solidFill>
                <a:latin typeface="Arial"/>
                <a:cs typeface="Arial"/>
              </a:defRPr>
            </a:lvl1pPr>
            <a:lvl2pPr defTabSz="457200"/>
            <a:lvl3pPr defTabSz="457200"/>
            <a:lvl4pPr defTabSz="457200"/>
            <a:lvl5pPr defTabSz="457200"/>
            <a:lvl6pPr defTabSz="457200"/>
            <a:lvl7pPr defTabSz="457200"/>
            <a:lvl8pPr defTabSz="457200"/>
            <a:lvl9pPr defTabSz="457200"/>
          </a:lstStyle>
          <a:p>
            <a:pPr lvl="0"/>
            <a:fld id="{8F63CC74-D785-4C96-8C6E-EB177D1B9A1D}" type="slidenum">
              <a:rPr lang="en-GB" sz="900" smtClean="0"/>
              <a:pPr lvl="0"/>
              <a:t>‹#›</a:t>
            </a:fld>
            <a:endParaRPr lang="en-GB" sz="900"/>
          </a:p>
        </p:txBody>
      </p:sp>
      <p:pic>
        <p:nvPicPr>
          <p:cNvPr id="25" name="Picture 24" descr="Cross.png">
            <a:extLst>
              <a:ext uri="{FF2B5EF4-FFF2-40B4-BE49-F238E27FC236}">
                <a16:creationId xmlns:a16="http://schemas.microsoft.com/office/drawing/2014/main" id="{716C18D6-6A4D-42E6-B22D-3B156D4CAA7F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71" y="6416004"/>
            <a:ext cx="313509" cy="361188"/>
          </a:xfrm>
          <a:prstGeom prst="rect">
            <a:avLst/>
          </a:prstGeom>
        </p:spPr>
      </p:pic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2CE0A016-64F6-4AB0-A99F-AEEE2CB4E148}"/>
              </a:ext>
            </a:extLst>
          </p:cNvPr>
          <p:cNvCxnSpPr/>
          <p:nvPr userDrawn="1"/>
        </p:nvCxnSpPr>
        <p:spPr>
          <a:xfrm rot="5400000">
            <a:off x="11130564" y="6623039"/>
            <a:ext cx="230832" cy="2017"/>
          </a:xfrm>
          <a:prstGeom prst="line">
            <a:avLst/>
          </a:prstGeom>
          <a:ln w="952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460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4" r:id="rId29"/>
  </p:sldLayoutIdLst>
  <p:hf sldNum="0" hdr="0" ftr="0" dt="0"/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 b="0" ker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7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300"/>
        </a:spcBef>
        <a:buClr>
          <a:schemeClr val="accent2"/>
        </a:buClr>
        <a:buFont typeface="Wingdings 2" panose="05020102010507070707" pitchFamily="18" charset="2"/>
        <a:buChar char=""/>
        <a:defRPr sz="1400" kern="0">
          <a:solidFill>
            <a:schemeClr val="accent2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881">
          <p15:clr>
            <a:srgbClr val="F26B43"/>
          </p15:clr>
        </p15:guide>
        <p15:guide id="7" orient="horz" pos="3992">
          <p15:clr>
            <a:srgbClr val="F26B43"/>
          </p15:clr>
        </p15:guide>
        <p15:guide id="8" orient="horz" pos="72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63638A6-B152-4C4F-BB69-0116F68CB5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847" y="1805703"/>
            <a:ext cx="11164305" cy="815751"/>
          </a:xfrm>
        </p:spPr>
        <p:txBody>
          <a:bodyPr/>
          <a:lstStyle/>
          <a:p>
            <a:pPr algn="ctr"/>
            <a:r>
              <a:rPr lang="en-US" dirty="0"/>
              <a:t>On-Demand Virtual Care – Occupational Health Visits</a:t>
            </a:r>
            <a:br>
              <a:rPr lang="en-US" dirty="0"/>
            </a:b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11EE1C-FEE1-A7F7-A1E0-34B16ACDB958}"/>
              </a:ext>
            </a:extLst>
          </p:cNvPr>
          <p:cNvSpPr txBox="1"/>
          <p:nvPr/>
        </p:nvSpPr>
        <p:spPr>
          <a:xfrm>
            <a:off x="8247355" y="6178858"/>
            <a:ext cx="287636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977345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882D8D-92A0-4E6E-99A4-6747FD80B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6254" y="2452972"/>
            <a:ext cx="10179492" cy="966611"/>
          </a:xfrm>
        </p:spPr>
        <p:txBody>
          <a:bodyPr vert="horz" lIns="0" tIns="0" rIns="0" bIns="0">
            <a:normAutofit fontScale="90000"/>
          </a:bodyPr>
          <a:lstStyle/>
          <a:p>
            <a:r>
              <a:rPr lang="en-US" b="0" i="0" kern="0" spc="200" dirty="0">
                <a:latin typeface="Arial Narrow"/>
                <a:ea typeface="+mj-ea"/>
                <a:cs typeface="Arial Narrow"/>
              </a:rPr>
              <a:t>What is an On-Demand Virtual Care – Occupational Health Visit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DCD24A-A5F4-47B7-9605-21677F4D3434}"/>
              </a:ext>
            </a:extLst>
          </p:cNvPr>
          <p:cNvSpPr txBox="1"/>
          <p:nvPr/>
        </p:nvSpPr>
        <p:spPr>
          <a:xfrm>
            <a:off x="606576" y="3633710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600"/>
              </a:spcAft>
            </a:pPr>
            <a:r>
              <a:rPr lang="en-US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4B337B-1CC5-9F17-FA9D-0E85E894C24F}"/>
              </a:ext>
            </a:extLst>
          </p:cNvPr>
          <p:cNvSpPr txBox="1"/>
          <p:nvPr/>
        </p:nvSpPr>
        <p:spPr>
          <a:xfrm>
            <a:off x="7643674" y="6480699"/>
            <a:ext cx="2627790" cy="377301"/>
          </a:xfrm>
          <a:prstGeom prst="rect">
            <a:avLst/>
          </a:prstGeom>
          <a:solidFill>
            <a:srgbClr val="6BADDF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663487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882D8D-92A0-4E6E-99A4-6747FD80B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5587" y="215017"/>
            <a:ext cx="11120826" cy="677337"/>
          </a:xfrm>
        </p:spPr>
        <p:txBody>
          <a:bodyPr/>
          <a:lstStyle/>
          <a:p>
            <a:r>
              <a:rPr lang="en-US" dirty="0"/>
              <a:t>On-Demand Virtual Occupational Health Visi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DCD24A-A5F4-47B7-9605-21677F4D3434}"/>
              </a:ext>
            </a:extLst>
          </p:cNvPr>
          <p:cNvSpPr txBox="1"/>
          <p:nvPr/>
        </p:nvSpPr>
        <p:spPr>
          <a:xfrm>
            <a:off x="606576" y="3633710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AEDF6D50-B335-46BF-6F95-C914421AED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02773469"/>
              </p:ext>
            </p:extLst>
          </p:nvPr>
        </p:nvGraphicFramePr>
        <p:xfrm>
          <a:off x="886780" y="553685"/>
          <a:ext cx="10023875" cy="55084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1EC1AFBE-B9CD-2343-4480-1CB4B78A75AF}"/>
              </a:ext>
            </a:extLst>
          </p:cNvPr>
          <p:cNvSpPr txBox="1"/>
          <p:nvPr/>
        </p:nvSpPr>
        <p:spPr>
          <a:xfrm>
            <a:off x="7492753" y="6400799"/>
            <a:ext cx="287636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8871647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D11325-D440-4F09-8FCA-3335AA319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ve Demo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B9DDAAA-DB6B-909C-92E8-27D35B03519D}"/>
              </a:ext>
            </a:extLst>
          </p:cNvPr>
          <p:cNvSpPr txBox="1"/>
          <p:nvPr/>
        </p:nvSpPr>
        <p:spPr>
          <a:xfrm>
            <a:off x="7643674" y="6480699"/>
            <a:ext cx="2627790" cy="377301"/>
          </a:xfrm>
          <a:prstGeom prst="rect">
            <a:avLst/>
          </a:prstGeom>
          <a:solidFill>
            <a:srgbClr val="6BADDF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368951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8D11325-D440-4F09-8FCA-3335AA3191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B04429A-7E10-036D-63DB-8A38C9CC976C}"/>
              </a:ext>
            </a:extLst>
          </p:cNvPr>
          <p:cNvSpPr txBox="1"/>
          <p:nvPr/>
        </p:nvSpPr>
        <p:spPr>
          <a:xfrm>
            <a:off x="7643674" y="6480699"/>
            <a:ext cx="2627790" cy="377301"/>
          </a:xfrm>
          <a:prstGeom prst="rect">
            <a:avLst/>
          </a:prstGeom>
          <a:solidFill>
            <a:srgbClr val="6BADDF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665724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882D8D-92A0-4E6E-99A4-6747FD80B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576" y="133646"/>
            <a:ext cx="10671024" cy="677337"/>
          </a:xfrm>
        </p:spPr>
        <p:txBody>
          <a:bodyPr/>
          <a:lstStyle/>
          <a:p>
            <a:r>
              <a:rPr lang="en-US" dirty="0"/>
              <a:t>Next Step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FDCD24A-A5F4-47B7-9605-21677F4D3434}"/>
              </a:ext>
            </a:extLst>
          </p:cNvPr>
          <p:cNvSpPr txBox="1"/>
          <p:nvPr/>
        </p:nvSpPr>
        <p:spPr>
          <a:xfrm>
            <a:off x="606576" y="3633710"/>
            <a:ext cx="609755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1E1913-E560-488F-A968-392BBE60F65A}"/>
              </a:ext>
            </a:extLst>
          </p:cNvPr>
          <p:cNvSpPr txBox="1"/>
          <p:nvPr/>
        </p:nvSpPr>
        <p:spPr>
          <a:xfrm>
            <a:off x="402389" y="1131075"/>
            <a:ext cx="1107939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ach out to St. Luke’s Employer Services: </a:t>
            </a:r>
            <a:r>
              <a:rPr lang="en-US" sz="2800" dirty="0">
                <a:solidFill>
                  <a:srgbClr val="0070C0"/>
                </a:solidFill>
              </a:rPr>
              <a:t>employerservices@slhs.org 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eet to discuss customization of workflow questions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Review and sign the standard template agree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F82C07F-A111-C118-4E88-E0717E8DB651}"/>
              </a:ext>
            </a:extLst>
          </p:cNvPr>
          <p:cNvSpPr txBox="1"/>
          <p:nvPr/>
        </p:nvSpPr>
        <p:spPr>
          <a:xfrm>
            <a:off x="7581530" y="6488668"/>
            <a:ext cx="2876365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966106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E5A98C6D-4690-49BD-B108-68F3A38996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7EA1A68-412E-A4AC-2F1D-03CDC22D2625}"/>
              </a:ext>
            </a:extLst>
          </p:cNvPr>
          <p:cNvSpPr txBox="1"/>
          <p:nvPr/>
        </p:nvSpPr>
        <p:spPr>
          <a:xfrm>
            <a:off x="7643674" y="6480699"/>
            <a:ext cx="2849732" cy="377301"/>
          </a:xfrm>
          <a:prstGeom prst="rect">
            <a:avLst/>
          </a:prstGeom>
          <a:solidFill>
            <a:srgbClr val="0160A0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1613538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hdljZ6ST2gd68eSs3m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uwOa4WQDKQIqS_fk.M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OevCAmT16.HYo1Hbh__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nIfXOZR4.esziiyrKl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qQza2KTQycCknkYAEz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pGlLGqTpihhZ_U2d.kv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YecEWRuGAcWdY_bHrs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YecEWRuGAcWdY_bHr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.LoEIaQlqSwSWT_40zJ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UkqxT4Qy2Pocu9FjIb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SqruClTK6gfrzKfwbKB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.kECW4JQjiEmjBoCkFAR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RmzLA.SAKv78d9ehmp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0CtGy7fQK2QOJyl96gf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.xoiQEdQValYovpQW8p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703XT8cQ2e1nkZCtL_6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wW84fpTiORCk1ZRvbQl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n.Du1JRYenP8PVWEY4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DHVxMRITpOefJOilQO_7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EdShW.QKuS4Kfddv5kF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dP431tGRomHtBgrruimH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52F09RTYqe4sSFtJOGa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 Theme">
  <a:themeElements>
    <a:clrScheme name="Custom 1">
      <a:dk1>
        <a:sysClr val="windowText" lastClr="000000"/>
      </a:dk1>
      <a:lt1>
        <a:sysClr val="window" lastClr="FFFFFF"/>
      </a:lt1>
      <a:dk2>
        <a:srgbClr val="05387A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2" id="{8F1F11EF-F9A2-40D3-BF2D-9B664B8B5282}" vid="{4FC55FFC-34E8-4AD0-9ED3-4F1A421FC017}"/>
    </a:ext>
  </a:extLst>
</a:theme>
</file>

<file path=ppt/theme/theme2.xml><?xml version="1.0" encoding="utf-8"?>
<a:theme xmlns:a="http://schemas.openxmlformats.org/drawingml/2006/main" name="OW_STLUKES">
  <a:themeElements>
    <a:clrScheme name="OW_StLukes2">
      <a:dk1>
        <a:sysClr val="windowText" lastClr="000000"/>
      </a:dk1>
      <a:lt1>
        <a:sysClr val="window" lastClr="FFFFFF"/>
      </a:lt1>
      <a:dk2>
        <a:srgbClr val="092C74"/>
      </a:dk2>
      <a:lt2>
        <a:srgbClr val="69ACE5"/>
      </a:lt2>
      <a:accent1>
        <a:srgbClr val="4B565F"/>
      </a:accent1>
      <a:accent2>
        <a:srgbClr val="26C2E7"/>
      </a:accent2>
      <a:accent3>
        <a:srgbClr val="595959"/>
      </a:accent3>
      <a:accent4>
        <a:srgbClr val="CBCBCB"/>
      </a:accent4>
      <a:accent5>
        <a:srgbClr val="1656A6"/>
      </a:accent5>
      <a:accent6>
        <a:srgbClr val="1B6CB3"/>
      </a:accent6>
      <a:hlink>
        <a:srgbClr val="2AA28E"/>
      </a:hlink>
      <a:folHlink>
        <a:srgbClr val="00544C"/>
      </a:folHlink>
    </a:clrScheme>
    <a:fontScheme name="Custom 8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6350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4"/>
          </a:solidFill>
        </a:ln>
      </a:spPr>
      <a:bodyPr lIns="73152" tIns="73152" rIns="73152" bIns="73152" rtlCol="0" anchor="ctr"/>
      <a:lstStyle>
        <a:defPPr algn="ctr">
          <a:defRPr sz="1000" kern="0" smtClean="0">
            <a:solidFill>
              <a:schemeClr val="tx1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  <a:headEnd type="none" w="med" len="med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000" kern="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W_StLukes.potx [Read-Only]" id="{69F5AAC6-DC46-499D-B690-AB07DFF1C858}" vid="{5133F60C-CB86-4441-9E78-841A701A63C2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814fa49-97d8-401d-ac52-e33383839669">
      <UserInfo>
        <DisplayName>Reid Stephan</DisplayName>
        <AccountId>12</AccountId>
        <AccountType/>
      </UserInfo>
      <UserInfo>
        <DisplayName>Beth Toal</DisplayName>
        <AccountId>71</AccountId>
        <AccountType/>
      </UserInfo>
      <UserInfo>
        <DisplayName>Makenzie Hall</DisplayName>
        <AccountId>47</AccountId>
        <AccountType/>
      </UserInfo>
      <UserInfo>
        <DisplayName>Adam Fuhriman</DisplayName>
        <AccountId>46</AccountId>
        <AccountType/>
      </UserInfo>
      <UserInfo>
        <DisplayName>Justin Hamilton</DisplayName>
        <AccountId>95</AccountId>
        <AccountType/>
      </UserInfo>
      <UserInfo>
        <DisplayName>James Watson</DisplayName>
        <AccountId>27</AccountId>
        <AccountType/>
      </UserInfo>
      <UserInfo>
        <DisplayName>Cynthia Graham</DisplayName>
        <AccountId>205</AccountId>
        <AccountType/>
      </UserInfo>
      <UserInfo>
        <DisplayName>Jessica Piper</DisplayName>
        <AccountId>10</AccountId>
        <AccountType/>
      </UserInfo>
      <UserInfo>
        <DisplayName>Robyn Williams</DisplayName>
        <AccountId>57</AccountId>
        <AccountType/>
      </UserInfo>
      <UserInfo>
        <DisplayName>Nicole Ruby</DisplayName>
        <AccountId>150</AccountId>
        <AccountType/>
      </UserInfo>
      <UserInfo>
        <DisplayName>Jamie Snook</DisplayName>
        <AccountId>48</AccountId>
        <AccountType/>
      </UserInfo>
      <UserInfo>
        <DisplayName>Mary Cronin</DisplayName>
        <AccountId>17</AccountId>
        <AccountType/>
      </UserInfo>
      <UserInfo>
        <DisplayName>Paul Bayless</DisplayName>
        <AccountId>244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70BA57D3365C3418075D962E4D51688" ma:contentTypeVersion="12" ma:contentTypeDescription="Create a new document." ma:contentTypeScope="" ma:versionID="5531cc7c7ad02d886ebc1a3d7e112d04">
  <xsd:schema xmlns:xsd="http://www.w3.org/2001/XMLSchema" xmlns:xs="http://www.w3.org/2001/XMLSchema" xmlns:p="http://schemas.microsoft.com/office/2006/metadata/properties" xmlns:ns2="3bf527ab-97b8-46e3-ae99-a516c9b1bf71" xmlns:ns3="3814fa49-97d8-401d-ac52-e33383839669" targetNamespace="http://schemas.microsoft.com/office/2006/metadata/properties" ma:root="true" ma:fieldsID="a20752071e08cb452d99c0a98b7847a2" ns2:_="" ns3:_="">
    <xsd:import namespace="3bf527ab-97b8-46e3-ae99-a516c9b1bf71"/>
    <xsd:import namespace="3814fa49-97d8-401d-ac52-e3338383966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bf527ab-97b8-46e3-ae99-a516c9b1bf7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14fa49-97d8-401d-ac52-e33383839669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1E3AE4B-7A68-48CD-8EDD-0823601F586F}">
  <ds:schemaRefs>
    <ds:schemaRef ds:uri="http://purl.org/dc/dcmitype/"/>
    <ds:schemaRef ds:uri="http://schemas.microsoft.com/office/infopath/2007/PartnerControls"/>
    <ds:schemaRef ds:uri="3bf527ab-97b8-46e3-ae99-a516c9b1bf71"/>
    <ds:schemaRef ds:uri="http://schemas.microsoft.com/office/2006/documentManagement/types"/>
    <ds:schemaRef ds:uri="http://schemas.microsoft.com/office/2006/metadata/properties"/>
    <ds:schemaRef ds:uri="http://purl.org/dc/terms/"/>
    <ds:schemaRef ds:uri="3814fa49-97d8-401d-ac52-e33383839669"/>
    <ds:schemaRef ds:uri="http://schemas.openxmlformats.org/package/2006/metadata/core-propertie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65744E6-FE33-4E40-9A4E-A4E8136BC77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AE8393C-7321-49CC-AD7F-90757261ECD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bf527ab-97b8-46e3-ae99-a516c9b1bf71"/>
    <ds:schemaRef ds:uri="3814fa49-97d8-401d-ac52-e333838396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59</TotalTime>
  <Words>132</Words>
  <Application>Microsoft Office PowerPoint</Application>
  <PresentationFormat>Widescreen</PresentationFormat>
  <Paragraphs>21</Paragraphs>
  <Slides>7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Helvetica</vt:lpstr>
      <vt:lpstr>Wingdings</vt:lpstr>
      <vt:lpstr>Wingdings 2</vt:lpstr>
      <vt:lpstr>6_Office Theme</vt:lpstr>
      <vt:lpstr>OW_STLUKES</vt:lpstr>
      <vt:lpstr>think-cell Slide</vt:lpstr>
      <vt:lpstr>On-Demand Virtual Care – Occupational Health Visits </vt:lpstr>
      <vt:lpstr>What is an On-Demand Virtual Care – Occupational Health Visit?</vt:lpstr>
      <vt:lpstr>On-Demand Virtual Occupational Health Visits</vt:lpstr>
      <vt:lpstr>Live Demo</vt:lpstr>
      <vt:lpstr>Next Steps</vt:lpstr>
      <vt:lpstr>Next Steps</vt:lpstr>
      <vt:lpstr>Questions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a Davis</dc:creator>
  <cp:lastModifiedBy>Tiffany Paine - Health Plan</cp:lastModifiedBy>
  <cp:revision>17</cp:revision>
  <dcterms:created xsi:type="dcterms:W3CDTF">2019-05-23T20:35:39Z</dcterms:created>
  <dcterms:modified xsi:type="dcterms:W3CDTF">2023-05-05T20:57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70BA57D3365C3418075D962E4D51688</vt:lpwstr>
  </property>
  <property fmtid="{D5CDD505-2E9C-101B-9397-08002B2CF9AE}" pid="3" name="xd_Signature">
    <vt:bool>false</vt:bool>
  </property>
  <property fmtid="{D5CDD505-2E9C-101B-9397-08002B2CF9AE}" pid="4" name="xd_ProgID">
    <vt:lpwstr/>
  </property>
  <property fmtid="{D5CDD505-2E9C-101B-9397-08002B2CF9AE}" pid="5" name="ComplianceAssetId">
    <vt:lpwstr/>
  </property>
  <property fmtid="{D5CDD505-2E9C-101B-9397-08002B2CF9AE}" pid="6" name="TemplateUrl">
    <vt:lpwstr/>
  </property>
</Properties>
</file>